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4" r:id="rId1"/>
  </p:sldMasterIdLst>
  <p:notesMasterIdLst>
    <p:notesMasterId r:id="rId3"/>
  </p:notesMasterIdLst>
  <p:handoutMasterIdLst>
    <p:handoutMasterId r:id="rId4"/>
  </p:handoutMasterIdLst>
  <p:sldIdLst>
    <p:sldId id="2147472837" r:id="rId2"/>
  </p:sldIdLst>
  <p:sldSz cx="12192000" cy="6858000"/>
  <p:notesSz cx="7102475" cy="938847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04D85C0-0BD8-404F-A4B6-9B74D280401F}">
          <p14:sldIdLst>
            <p14:sldId id="2147472837"/>
          </p14:sldIdLst>
        </p14:section>
      </p14:sectionLst>
    </p:ext>
    <p:ext uri="{EFAFB233-063F-42B5-8137-9DF3F51BA10A}">
      <p15:sldGuideLst xmlns:p15="http://schemas.microsoft.com/office/powerpoint/2012/main">
        <p15:guide id="1" pos="160" userDrawn="1">
          <p15:clr>
            <a:srgbClr val="A4A3A4"/>
          </p15:clr>
        </p15:guide>
        <p15:guide id="2" pos="743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EAF9FC"/>
    <a:srgbClr val="DDF8FF"/>
    <a:srgbClr val="AFE9FF"/>
    <a:srgbClr val="D9D9D9"/>
    <a:srgbClr val="E8E4F1"/>
    <a:srgbClr val="DAE6EB"/>
    <a:srgbClr val="F5E7DA"/>
    <a:srgbClr val="FFEFEF"/>
    <a:srgbClr val="FF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38" autoAdjust="0"/>
    <p:restoredTop sz="96327" autoAdjust="0"/>
  </p:normalViewPr>
  <p:slideViewPr>
    <p:cSldViewPr snapToGrid="0">
      <p:cViewPr varScale="1">
        <p:scale>
          <a:sx n="100" d="100"/>
          <a:sy n="100" d="100"/>
        </p:scale>
        <p:origin x="1255" y="60"/>
      </p:cViewPr>
      <p:guideLst>
        <p:guide pos="160"/>
        <p:guide pos="743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250" d="100"/>
          <a:sy n="250" d="100"/>
        </p:scale>
        <p:origin x="103" y="10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6/11/relationships/changesInfo" Target="changesInfos/changesInfo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李泰穎" userId="f1fa9971-3bc7-4ae2-a3cc-9224c5424f18" providerId="ADAL" clId="{72A617FF-6C7E-4AFE-A785-063D0678A5DB}"/>
    <pc:docChg chg="addSld delSld modSection">
      <pc:chgData name="李泰穎" userId="f1fa9971-3bc7-4ae2-a3cc-9224c5424f18" providerId="ADAL" clId="{72A617FF-6C7E-4AFE-A785-063D0678A5DB}" dt="2022-11-01T07:13:10.273" v="1" actId="47"/>
      <pc:docMkLst>
        <pc:docMk/>
      </pc:docMkLst>
      <pc:sldChg chg="new del">
        <pc:chgData name="李泰穎" userId="f1fa9971-3bc7-4ae2-a3cc-9224c5424f18" providerId="ADAL" clId="{72A617FF-6C7E-4AFE-A785-063D0678A5DB}" dt="2022-11-01T07:13:10.273" v="1" actId="47"/>
        <pc:sldMkLst>
          <pc:docMk/>
          <pc:sldMk cId="1596790011" sldId="2147472838"/>
        </pc:sldMkLst>
      </pc:sldChg>
    </pc:docChg>
  </pc:docChgLst>
  <pc:docChgLst>
    <pc:chgData name="李泰穎" userId="f1fa9971-3bc7-4ae2-a3cc-9224c5424f18" providerId="ADAL" clId="{A2B716BF-0447-42F9-99D8-BC2F5297A151}"/>
    <pc:docChg chg="custSel modSld">
      <pc:chgData name="李泰穎" userId="f1fa9971-3bc7-4ae2-a3cc-9224c5424f18" providerId="ADAL" clId="{A2B716BF-0447-42F9-99D8-BC2F5297A151}" dt="2022-09-29T04:54:49.081" v="2" actId="478"/>
      <pc:docMkLst>
        <pc:docMk/>
      </pc:docMkLst>
      <pc:sldChg chg="delSp mod">
        <pc:chgData name="李泰穎" userId="f1fa9971-3bc7-4ae2-a3cc-9224c5424f18" providerId="ADAL" clId="{A2B716BF-0447-42F9-99D8-BC2F5297A151}" dt="2022-09-29T04:54:49.081" v="2" actId="478"/>
        <pc:sldMkLst>
          <pc:docMk/>
          <pc:sldMk cId="1871794035" sldId="2147472837"/>
        </pc:sldMkLst>
        <pc:spChg chg="del">
          <ac:chgData name="李泰穎" userId="f1fa9971-3bc7-4ae2-a3cc-9224c5424f18" providerId="ADAL" clId="{A2B716BF-0447-42F9-99D8-BC2F5297A151}" dt="2022-09-29T04:54:49.081" v="2" actId="478"/>
          <ac:spMkLst>
            <pc:docMk/>
            <pc:sldMk cId="1871794035" sldId="2147472837"/>
            <ac:spMk id="3" creationId="{3B501615-BBD4-4827-A043-E9AF3AD65056}"/>
          </ac:spMkLst>
        </pc:spChg>
        <pc:spChg chg="del">
          <ac:chgData name="李泰穎" userId="f1fa9971-3bc7-4ae2-a3cc-9224c5424f18" providerId="ADAL" clId="{A2B716BF-0447-42F9-99D8-BC2F5297A151}" dt="2022-09-29T04:54:45.748" v="0" actId="478"/>
          <ac:spMkLst>
            <pc:docMk/>
            <pc:sldMk cId="1871794035" sldId="2147472837"/>
            <ac:spMk id="66" creationId="{778B65B1-D90F-B05F-9114-3B00DF611D67}"/>
          </ac:spMkLst>
        </pc:spChg>
        <pc:spChg chg="del">
          <ac:chgData name="李泰穎" userId="f1fa9971-3bc7-4ae2-a3cc-9224c5424f18" providerId="ADAL" clId="{A2B716BF-0447-42F9-99D8-BC2F5297A151}" dt="2022-09-29T04:54:47.092" v="1" actId="478"/>
          <ac:spMkLst>
            <pc:docMk/>
            <pc:sldMk cId="1871794035" sldId="2147472837"/>
            <ac:spMk id="171" creationId="{A7D34C96-5730-4D69-83E8-C484162D986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494880546075087E-2"/>
          <c:y val="1.7333333333333333E-2"/>
          <c:w val="0.92901023890784984"/>
          <c:h val="0.9653333333333333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U$1</c:f>
              <c:numCache>
                <c:formatCode>General</c:formatCode>
                <c:ptCount val="21"/>
                <c:pt idx="0">
                  <c:v>3</c:v>
                </c:pt>
                <c:pt idx="1">
                  <c:v>3</c:v>
                </c:pt>
                <c:pt idx="2">
                  <c:v>2.5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  <c:pt idx="8">
                  <c:v>2.5</c:v>
                </c:pt>
                <c:pt idx="10">
                  <c:v>3</c:v>
                </c:pt>
                <c:pt idx="11">
                  <c:v>1.5</c:v>
                </c:pt>
                <c:pt idx="12">
                  <c:v>3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3</c:v>
                </c:pt>
                <c:pt idx="18">
                  <c:v>2</c:v>
                </c:pt>
                <c:pt idx="19">
                  <c:v>1</c:v>
                </c:pt>
                <c:pt idx="2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0D-854B-A55A-B0DA3376A922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U$2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8">
                  <c:v>1</c:v>
                </c:pt>
                <c:pt idx="10">
                  <c:v>0</c:v>
                </c:pt>
                <c:pt idx="11">
                  <c:v>1.5</c:v>
                </c:pt>
                <c:pt idx="12">
                  <c:v>0</c:v>
                </c:pt>
                <c:pt idx="13">
                  <c:v>2</c:v>
                </c:pt>
                <c:pt idx="14">
                  <c:v>1.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0D-854B-A55A-B0DA3376A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51918383"/>
        <c:axId val="1"/>
      </c:barChart>
      <c:catAx>
        <c:axId val="10519183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51918383"/>
        <c:crosses val="min"/>
        <c:crossBetween val="between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October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October 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October 202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601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02142"/>
              </p:ext>
            </p:extLst>
          </p:nvPr>
        </p:nvGraphicFramePr>
        <p:xfrm>
          <a:off x="2124" y="1596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4" y="1596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C7F546B-4F83-4538-BA5D-30831D737F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899" y="220648"/>
            <a:ext cx="10390118" cy="2769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A91463B-6220-440A-ABDE-A70AD53F6E77}"/>
              </a:ext>
            </a:extLst>
          </p:cNvPr>
          <p:cNvGrpSpPr/>
          <p:nvPr userDrawn="1"/>
        </p:nvGrpSpPr>
        <p:grpSpPr>
          <a:xfrm>
            <a:off x="143910" y="144226"/>
            <a:ext cx="529915" cy="434977"/>
            <a:chOff x="138113" y="741362"/>
            <a:chExt cx="411956" cy="338138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2A2D9579-49FE-471E-B5F7-4A2A57C2A26B}"/>
                </a:ext>
              </a:extLst>
            </p:cNvPr>
            <p:cNvSpPr/>
            <p:nvPr/>
          </p:nvSpPr>
          <p:spPr>
            <a:xfrm>
              <a:off x="138113" y="760413"/>
              <a:ext cx="226218" cy="319087"/>
            </a:xfrm>
            <a:custGeom>
              <a:avLst/>
              <a:gdLst>
                <a:gd name="connsiteX0" fmla="*/ 200025 w 226218"/>
                <a:gd name="connsiteY0" fmla="*/ 69056 h 319087"/>
                <a:gd name="connsiteX1" fmla="*/ 150018 w 226218"/>
                <a:gd name="connsiteY1" fmla="*/ 169068 h 319087"/>
                <a:gd name="connsiteX2" fmla="*/ 226218 w 226218"/>
                <a:gd name="connsiteY2" fmla="*/ 214312 h 319087"/>
                <a:gd name="connsiteX3" fmla="*/ 180975 w 226218"/>
                <a:gd name="connsiteY3" fmla="*/ 319087 h 319087"/>
                <a:gd name="connsiteX4" fmla="*/ 0 w 226218"/>
                <a:gd name="connsiteY4" fmla="*/ 211931 h 319087"/>
                <a:gd name="connsiteX5" fmla="*/ 83343 w 226218"/>
                <a:gd name="connsiteY5" fmla="*/ 0 h 319087"/>
                <a:gd name="connsiteX6" fmla="*/ 200025 w 226218"/>
                <a:gd name="connsiteY6" fmla="*/ 69056 h 31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218" h="319087">
                  <a:moveTo>
                    <a:pt x="200025" y="69056"/>
                  </a:moveTo>
                  <a:lnTo>
                    <a:pt x="150018" y="169068"/>
                  </a:lnTo>
                  <a:lnTo>
                    <a:pt x="226218" y="214312"/>
                  </a:lnTo>
                  <a:lnTo>
                    <a:pt x="180975" y="319087"/>
                  </a:lnTo>
                  <a:lnTo>
                    <a:pt x="0" y="211931"/>
                  </a:lnTo>
                  <a:lnTo>
                    <a:pt x="83343" y="0"/>
                  </a:lnTo>
                  <a:lnTo>
                    <a:pt x="200025" y="69056"/>
                  </a:lnTo>
                  <a:close/>
                </a:path>
              </a:pathLst>
            </a:custGeom>
            <a:solidFill>
              <a:srgbClr val="FDF77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B074B1FF-8104-4BED-B1F1-9B36DBAFC580}"/>
                </a:ext>
              </a:extLst>
            </p:cNvPr>
            <p:cNvSpPr/>
            <p:nvPr/>
          </p:nvSpPr>
          <p:spPr>
            <a:xfrm>
              <a:off x="319088" y="848519"/>
              <a:ext cx="230981" cy="230981"/>
            </a:xfrm>
            <a:custGeom>
              <a:avLst/>
              <a:gdLst>
                <a:gd name="connsiteX0" fmla="*/ 0 w 230981"/>
                <a:gd name="connsiteY0" fmla="*/ 230981 h 230981"/>
                <a:gd name="connsiteX1" fmla="*/ 157162 w 230981"/>
                <a:gd name="connsiteY1" fmla="*/ 192881 h 230981"/>
                <a:gd name="connsiteX2" fmla="*/ 230981 w 230981"/>
                <a:gd name="connsiteY2" fmla="*/ 0 h 230981"/>
                <a:gd name="connsiteX3" fmla="*/ 88106 w 230981"/>
                <a:gd name="connsiteY3" fmla="*/ 23812 h 230981"/>
                <a:gd name="connsiteX4" fmla="*/ 0 w 230981"/>
                <a:gd name="connsiteY4" fmla="*/ 230981 h 2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230981">
                  <a:moveTo>
                    <a:pt x="0" y="230981"/>
                  </a:moveTo>
                  <a:lnTo>
                    <a:pt x="157162" y="192881"/>
                  </a:lnTo>
                  <a:lnTo>
                    <a:pt x="230981" y="0"/>
                  </a:lnTo>
                  <a:lnTo>
                    <a:pt x="88106" y="23812"/>
                  </a:lnTo>
                  <a:lnTo>
                    <a:pt x="0" y="23098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DE791"/>
                </a:gs>
                <a:gs pos="100000">
                  <a:srgbClr val="EDF192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B0F7E18C-6606-4F9A-BB06-62A2A42E797C}"/>
                </a:ext>
              </a:extLst>
            </p:cNvPr>
            <p:cNvSpPr/>
            <p:nvPr/>
          </p:nvSpPr>
          <p:spPr>
            <a:xfrm>
              <a:off x="219075" y="741362"/>
              <a:ext cx="326231" cy="130969"/>
            </a:xfrm>
            <a:custGeom>
              <a:avLst/>
              <a:gdLst>
                <a:gd name="connsiteX0" fmla="*/ 0 w 326231"/>
                <a:gd name="connsiteY0" fmla="*/ 14288 h 130969"/>
                <a:gd name="connsiteX1" fmla="*/ 185738 w 326231"/>
                <a:gd name="connsiteY1" fmla="*/ 130969 h 130969"/>
                <a:gd name="connsiteX2" fmla="*/ 326231 w 326231"/>
                <a:gd name="connsiteY2" fmla="*/ 107156 h 130969"/>
                <a:gd name="connsiteX3" fmla="*/ 147638 w 326231"/>
                <a:gd name="connsiteY3" fmla="*/ 0 h 130969"/>
                <a:gd name="connsiteX4" fmla="*/ 0 w 326231"/>
                <a:gd name="connsiteY4" fmla="*/ 14288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31" h="130969">
                  <a:moveTo>
                    <a:pt x="0" y="14288"/>
                  </a:moveTo>
                  <a:lnTo>
                    <a:pt x="185738" y="130969"/>
                  </a:lnTo>
                  <a:lnTo>
                    <a:pt x="326231" y="107156"/>
                  </a:lnTo>
                  <a:lnTo>
                    <a:pt x="147638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rgbClr val="00A1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413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831018"/>
              </p:ext>
            </p:extLst>
          </p:nvPr>
        </p:nvGraphicFramePr>
        <p:xfrm>
          <a:off x="2169" y="163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9" y="163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3F0D81-1100-4411-AFF4-96B3DC6ACE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圖片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" y="-1"/>
            <a:ext cx="12185776" cy="6858000"/>
          </a:xfrm>
          <a:prstGeom prst="rect">
            <a:avLst/>
          </a:prstGeom>
        </p:spPr>
      </p:pic>
      <p:pic>
        <p:nvPicPr>
          <p:cNvPr id="26" name="圖片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11453" y="223293"/>
            <a:ext cx="1774153" cy="313166"/>
          </a:xfrm>
          <a:prstGeom prst="rect">
            <a:avLst/>
          </a:prstGeom>
        </p:spPr>
      </p:pic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69558" y="2352815"/>
            <a:ext cx="8516045" cy="50244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defRPr sz="32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69558" y="3884863"/>
            <a:ext cx="8516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3269559" y="2194015"/>
            <a:ext cx="899573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3269556" y="2352750"/>
            <a:ext cx="259045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4/26/2022 12:59 AM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3269558" y="2513106"/>
            <a:ext cx="228000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Printed 12/2/2019 1:56 </a:t>
            </a:r>
            <a:r>
              <a:rPr lang="en-US" sz="800" baseline="0" noProof="0" dirty="0">
                <a:solidFill>
                  <a:schemeClr val="tx1"/>
                </a:solidFill>
                <a:latin typeface="+mn-lt"/>
              </a:rPr>
              <a:t>PM China Standard Time</a:t>
            </a: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3269558" y="5156021"/>
            <a:ext cx="851604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684296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976846"/>
              </p:ext>
            </p:extLst>
          </p:nvPr>
        </p:nvGraphicFramePr>
        <p:xfrm>
          <a:off x="2124" y="1596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9" imgH="450" progId="TCLayout.ActiveDocument.1">
                  <p:embed/>
                </p:oleObj>
              </mc:Choice>
              <mc:Fallback>
                <p:oleObj name="think-cell Slide" r:id="rId4" imgW="449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4" y="1596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571F7B-0784-4E8D-B3A2-4F32C8AC80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3289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2525045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C71702-F99A-4D9E-91BA-36A76F7B31B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28770" y="2385091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80808"/>
                </a:solidFill>
                <a:latin typeface="Arial"/>
              </a:rPr>
              <a:t>Last Modified 4/26/2022 12:59 AM Taipei Standard Time</a:t>
            </a:r>
            <a:endParaRPr lang="en-US" sz="600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4843" y="4602134"/>
            <a:ext cx="1704256" cy="94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80808"/>
                </a:solidFill>
                <a:latin typeface="Arial"/>
              </a:rPr>
              <a:t>Printed 12/2/2019 1:56 </a:t>
            </a:r>
            <a:r>
              <a:rPr lang="en-US" sz="600" dirty="0">
                <a:solidFill>
                  <a:srgbClr val="080808"/>
                </a:solidFill>
                <a:latin typeface="Arial"/>
              </a:rPr>
              <a:t>PM China Standard Time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81605" y="220648"/>
            <a:ext cx="111396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135" y="49632"/>
            <a:ext cx="1252376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136" y="553091"/>
            <a:ext cx="1074993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1065" y="6117507"/>
            <a:ext cx="1093046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>
                <a:solidFill>
                  <a:srgbClr val="080808"/>
                </a:solidFill>
                <a:latin typeface="+mn-lt"/>
              </a:rPr>
              <a:t>1 </a:t>
            </a:r>
            <a:r>
              <a:rPr lang="en-US" sz="800" baseline="0" dirty="0">
                <a:solidFill>
                  <a:srgbClr val="080808"/>
                </a:solidFill>
                <a:latin typeface="+mn-lt"/>
              </a:rPr>
              <a:t>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1051" y="6292232"/>
            <a:ext cx="10930467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21580" indent="-621580" defTabSz="912944">
              <a:tabLst>
                <a:tab pos="624816" algn="l"/>
              </a:tabLst>
            </a:pPr>
            <a:r>
              <a:rPr lang="en-US" sz="800" baseline="0" dirty="0">
                <a:solidFill>
                  <a:srgbClr val="080808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8" y="1905638"/>
            <a:ext cx="5853024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80808"/>
                  </a:solidFill>
                  <a:latin typeface="+mn-lt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18" y="2509334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600422" y="270652"/>
            <a:ext cx="874714" cy="1022062"/>
            <a:chOff x="4936" y="176"/>
            <a:chExt cx="405" cy="631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65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10181436" y="270659"/>
            <a:ext cx="1293713" cy="749943"/>
            <a:chOff x="4750" y="176"/>
            <a:chExt cx="599" cy="463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65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5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Sticker" hidden="1"/>
          <p:cNvGrpSpPr/>
          <p:nvPr/>
        </p:nvGrpSpPr>
        <p:grpSpPr bwMode="auto">
          <a:xfrm>
            <a:off x="10542473" y="270655"/>
            <a:ext cx="1109779" cy="220474"/>
            <a:chOff x="7925059" y="285750"/>
            <a:chExt cx="815716" cy="216085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25059" y="285750"/>
              <a:ext cx="815716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25059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25059" y="501835"/>
              <a:ext cx="8157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509364" y="270652"/>
            <a:ext cx="966208" cy="1333054"/>
            <a:chOff x="7875175" y="286625"/>
            <a:chExt cx="710188" cy="1306516"/>
          </a:xfrm>
        </p:grpSpPr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</p:grpSp>
        <p:grpSp>
          <p:nvGrpSpPr>
            <p:cNvPr id="49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65" dirty="0">
                  <a:latin typeface="+mn-lt"/>
                </a:endParaRPr>
              </a:p>
            </p:txBody>
          </p:sp>
        </p:grpSp>
      </p:grpSp>
      <p:grpSp>
        <p:nvGrpSpPr>
          <p:cNvPr id="63" name="Moon" hidden="1"/>
          <p:cNvGrpSpPr/>
          <p:nvPr>
            <p:custDataLst>
              <p:tags r:id="rId7"/>
            </p:custDataLst>
          </p:nvPr>
        </p:nvGrpSpPr>
        <p:grpSpPr bwMode="auto">
          <a:xfrm>
            <a:off x="9625473" y="918933"/>
            <a:ext cx="345566" cy="259159"/>
            <a:chOff x="762000" y="1270000"/>
            <a:chExt cx="254000" cy="254000"/>
          </a:xfrm>
        </p:grpSpPr>
        <p:sp>
          <p:nvSpPr>
            <p:cNvPr id="64" name="Oval 63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5" dirty="0">
                <a:solidFill>
                  <a:schemeClr val="tx1"/>
                </a:solidFill>
              </a:endParaRPr>
            </a:p>
          </p:txBody>
        </p:sp>
        <p:sp>
          <p:nvSpPr>
            <p:cNvPr id="65" name="Arc 64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65" dirty="0"/>
            </a:p>
          </p:txBody>
        </p:sp>
      </p:grpSp>
      <p:sp>
        <p:nvSpPr>
          <p:cNvPr id="66" name="Slide Number Placeholder 5"/>
          <p:cNvSpPr txBox="1">
            <a:spLocks/>
          </p:cNvSpPr>
          <p:nvPr/>
        </p:nvSpPr>
        <p:spPr bwMode="auto">
          <a:xfrm>
            <a:off x="6045226" y="6590874"/>
            <a:ext cx="160288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AA26DCF-0A6C-4187-B812-8875B1EF096F}" type="slidenum">
              <a:rPr lang="en-US" sz="1000" smtClean="0"/>
              <a:pPr/>
              <a:t>‹#›</a:t>
            </a:fld>
            <a:endParaRPr lang="en-US" sz="1000" dirty="0"/>
          </a:p>
        </p:txBody>
      </p:sp>
      <p:sp>
        <p:nvSpPr>
          <p:cNvPr id="6" name="Freeform 5"/>
          <p:cNvSpPr/>
          <p:nvPr/>
        </p:nvSpPr>
        <p:spPr>
          <a:xfrm>
            <a:off x="9753603" y="0"/>
            <a:ext cx="2438399" cy="231778"/>
          </a:xfrm>
          <a:custGeom>
            <a:avLst/>
            <a:gdLst>
              <a:gd name="connsiteX0" fmla="*/ 0 w 4533900"/>
              <a:gd name="connsiteY0" fmla="*/ 0 h 590550"/>
              <a:gd name="connsiteX1" fmla="*/ 4533900 w 4533900"/>
              <a:gd name="connsiteY1" fmla="*/ 0 h 590550"/>
              <a:gd name="connsiteX2" fmla="*/ 4533900 w 4533900"/>
              <a:gd name="connsiteY2" fmla="*/ 238125 h 590550"/>
              <a:gd name="connsiteX3" fmla="*/ 3962400 w 4533900"/>
              <a:gd name="connsiteY3" fmla="*/ 590550 h 590550"/>
              <a:gd name="connsiteX4" fmla="*/ 0 w 4533900"/>
              <a:gd name="connsiteY4" fmla="*/ 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900" h="590550">
                <a:moveTo>
                  <a:pt x="0" y="0"/>
                </a:moveTo>
                <a:lnTo>
                  <a:pt x="4533900" y="0"/>
                </a:lnTo>
                <a:lnTo>
                  <a:pt x="4533900" y="238125"/>
                </a:lnTo>
                <a:lnTo>
                  <a:pt x="3962400" y="590550"/>
                </a:lnTo>
                <a:lnTo>
                  <a:pt x="0" y="0"/>
                </a:lnTo>
                <a:close/>
              </a:path>
            </a:pathLst>
          </a:custGeom>
          <a:solidFill>
            <a:srgbClr val="00A1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2699" y="6515100"/>
            <a:ext cx="4640119" cy="342900"/>
          </a:xfrm>
          <a:custGeom>
            <a:avLst/>
            <a:gdLst>
              <a:gd name="connsiteX0" fmla="*/ 0 w 3429000"/>
              <a:gd name="connsiteY0" fmla="*/ 514350 h 514350"/>
              <a:gd name="connsiteX1" fmla="*/ 523875 w 3429000"/>
              <a:gd name="connsiteY1" fmla="*/ 0 h 514350"/>
              <a:gd name="connsiteX2" fmla="*/ 3429000 w 3429000"/>
              <a:gd name="connsiteY2" fmla="*/ 514350 h 514350"/>
              <a:gd name="connsiteX3" fmla="*/ 0 w 3429000"/>
              <a:gd name="connsiteY3" fmla="*/ 514350 h 514350"/>
              <a:gd name="connsiteX0" fmla="*/ 0 w 3429000"/>
              <a:gd name="connsiteY0" fmla="*/ 489462 h 489462"/>
              <a:gd name="connsiteX1" fmla="*/ 360060 w 3429000"/>
              <a:gd name="connsiteY1" fmla="*/ 0 h 489462"/>
              <a:gd name="connsiteX2" fmla="*/ 3429000 w 3429000"/>
              <a:gd name="connsiteY2" fmla="*/ 489462 h 489462"/>
              <a:gd name="connsiteX3" fmla="*/ 0 w 3429000"/>
              <a:gd name="connsiteY3" fmla="*/ 489462 h 48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489462">
                <a:moveTo>
                  <a:pt x="0" y="489462"/>
                </a:moveTo>
                <a:lnTo>
                  <a:pt x="360060" y="0"/>
                </a:lnTo>
                <a:lnTo>
                  <a:pt x="3429000" y="489462"/>
                </a:lnTo>
                <a:lnTo>
                  <a:pt x="0" y="489462"/>
                </a:lnTo>
                <a:close/>
              </a:path>
            </a:pathLst>
          </a:custGeom>
          <a:solidFill>
            <a:srgbClr val="EDF1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68714" y="6668819"/>
            <a:ext cx="1727362" cy="12561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lvl="1">
              <a:buClr>
                <a:srgbClr val="000000"/>
              </a:buClr>
              <a:buSzPct val="120000"/>
              <a:tabLst>
                <a:tab pos="3998489" algn="r"/>
                <a:tab pos="8228728" algn="r"/>
              </a:tabLst>
            </a:pPr>
            <a:r>
              <a:rPr lang="en-US" sz="800" b="1" i="1">
                <a:solidFill>
                  <a:schemeClr val="tx1"/>
                </a:solidFill>
              </a:rPr>
              <a:t>Think Great</a:t>
            </a:r>
            <a:r>
              <a:rPr lang="zh-TW" altLang="en-US" sz="800" b="1" i="1">
                <a:solidFill>
                  <a:schemeClr val="tx1"/>
                </a:solidFill>
              </a:rPr>
              <a:t>．</a:t>
            </a:r>
            <a:r>
              <a:rPr lang="en-US" sz="800" b="1" i="1">
                <a:solidFill>
                  <a:schemeClr val="tx1"/>
                </a:solidFill>
              </a:rPr>
              <a:t>Act </a:t>
            </a:r>
            <a:r>
              <a:rPr lang="en-US" sz="800" b="1" i="1" dirty="0">
                <a:solidFill>
                  <a:schemeClr val="tx1"/>
                </a:solidFill>
              </a:rPr>
              <a:t>Smart</a:t>
            </a:r>
            <a:endParaRPr lang="en-US" sz="800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67" name="圖片 1">
            <a:extLst>
              <a:ext uri="{FF2B5EF4-FFF2-40B4-BE49-F238E27FC236}">
                <a16:creationId xmlns:a16="http://schemas.microsoft.com/office/drawing/2014/main" id="{28808517-8F5D-4E5C-A939-8BD1265AAEA8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96767" y="6577979"/>
            <a:ext cx="888835" cy="168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28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5" r:id="rId2"/>
    <p:sldLayoutId id="2147484027" r:id="rId3"/>
  </p:sldLayoutIdLst>
  <p:txStyles>
    <p:titleStyle>
      <a:lvl1pPr algn="l" defTabSz="912944" rtl="0" eaLnBrk="1" fontAlgn="base" hangingPunct="1">
        <a:spcBef>
          <a:spcPct val="0"/>
        </a:spcBef>
        <a:spcAft>
          <a:spcPct val="0"/>
        </a:spcAft>
        <a:tabLst>
          <a:tab pos="275179" algn="l"/>
        </a:tabLst>
        <a:defRPr sz="1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181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369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555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4738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82" indent="-19586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81" indent="-267086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437" indent="-1586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6pPr>
      <a:lvl7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7pPr>
      <a:lvl8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8pPr>
      <a:lvl9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notesSlide" Target="../notesSlides/notesSlide1.xml"/><Relationship Id="rId50" Type="http://schemas.openxmlformats.org/officeDocument/2006/relationships/image" Target="../media/image9.png"/><Relationship Id="rId55" Type="http://schemas.openxmlformats.org/officeDocument/2006/relationships/image" Target="../media/image14.svg"/><Relationship Id="rId63" Type="http://schemas.openxmlformats.org/officeDocument/2006/relationships/image" Target="../media/image21.png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image" Target="../media/image12.svg"/><Relationship Id="rId58" Type="http://schemas.openxmlformats.org/officeDocument/2006/relationships/image" Target="../media/image16.svg"/><Relationship Id="rId5" Type="http://schemas.openxmlformats.org/officeDocument/2006/relationships/tags" Target="../tags/tag30.xml"/><Relationship Id="rId61" Type="http://schemas.openxmlformats.org/officeDocument/2006/relationships/image" Target="../media/image19.png"/><Relationship Id="rId19" Type="http://schemas.openxmlformats.org/officeDocument/2006/relationships/tags" Target="../tags/tag4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oleObject" Target="../embeddings/oleObject5.bin"/><Relationship Id="rId56" Type="http://schemas.openxmlformats.org/officeDocument/2006/relationships/chart" Target="../charts/chart1.xml"/><Relationship Id="rId64" Type="http://schemas.openxmlformats.org/officeDocument/2006/relationships/image" Target="../media/image22.svg"/><Relationship Id="rId8" Type="http://schemas.openxmlformats.org/officeDocument/2006/relationships/tags" Target="../tags/tag33.xml"/><Relationship Id="rId51" Type="http://schemas.openxmlformats.org/officeDocument/2006/relationships/image" Target="../media/image10.svg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slideLayout" Target="../slideLayouts/slideLayout1.xml"/><Relationship Id="rId59" Type="http://schemas.openxmlformats.org/officeDocument/2006/relationships/image" Target="../media/image17.png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image" Target="../media/image13.png"/><Relationship Id="rId62" Type="http://schemas.openxmlformats.org/officeDocument/2006/relationships/image" Target="../media/image20.svg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image" Target="../media/image8.emf"/><Relationship Id="rId57" Type="http://schemas.openxmlformats.org/officeDocument/2006/relationships/image" Target="../media/image15.png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image" Target="../media/image11.png"/><Relationship Id="rId60" Type="http://schemas.openxmlformats.org/officeDocument/2006/relationships/image" Target="../media/image18.svg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C4FE73-7772-C673-BF8E-A5468BCEC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2763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7772400" imgH="10058400" progId="TCLayout.ActiveDocument.1">
                  <p:embed/>
                </p:oleObj>
              </mc:Choice>
              <mc:Fallback>
                <p:oleObj name="think-cell Slide" r:id="rId48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C4FE73-7772-C673-BF8E-A5468BCEC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>
            <a:extLst>
              <a:ext uri="{FF2B5EF4-FFF2-40B4-BE49-F238E27FC236}">
                <a16:creationId xmlns:a16="http://schemas.microsoft.com/office/drawing/2014/main" id="{EE856FF9-489B-832C-DB06-F3E2D138A68C}"/>
              </a:ext>
            </a:extLst>
          </p:cNvPr>
          <p:cNvSpPr/>
          <p:nvPr/>
        </p:nvSpPr>
        <p:spPr>
          <a:xfrm>
            <a:off x="7052123" y="1693871"/>
            <a:ext cx="286456" cy="45664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0CAB22-8F07-0538-353A-2CDB3F695580}"/>
              </a:ext>
            </a:extLst>
          </p:cNvPr>
          <p:cNvSpPr txBox="1">
            <a:spLocks/>
          </p:cNvSpPr>
          <p:nvPr/>
        </p:nvSpPr>
        <p:spPr>
          <a:xfrm>
            <a:off x="1254312" y="3699678"/>
            <a:ext cx="2476254" cy="1539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.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fra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s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de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optional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E6DEEC7-4412-EFE8-8FA5-505D537C6C00}"/>
              </a:ext>
            </a:extLst>
          </p:cNvPr>
          <p:cNvSpPr txBox="1">
            <a:spLocks/>
          </p:cNvSpPr>
          <p:nvPr/>
        </p:nvSpPr>
        <p:spPr>
          <a:xfrm>
            <a:off x="1254312" y="3261526"/>
            <a:ext cx="2476254" cy="1539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8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teless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ve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ateful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optional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6A99506-827D-5942-6614-28E13FBA3F47}"/>
              </a:ext>
            </a:extLst>
          </p:cNvPr>
          <p:cNvSpPr txBox="1">
            <a:spLocks/>
          </p:cNvSpPr>
          <p:nvPr/>
        </p:nvSpPr>
        <p:spPr>
          <a:xfrm>
            <a:off x="1254312" y="5230034"/>
            <a:ext cx="2476254" cy="1539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.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uto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cale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optional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02B36AC-6913-7F72-385B-F0142E886F4B}"/>
              </a:ext>
            </a:extLst>
          </p:cNvPr>
          <p:cNvCxnSpPr>
            <a:cxnSpLocks/>
          </p:cNvCxnSpPr>
          <p:nvPr/>
        </p:nvCxnSpPr>
        <p:spPr>
          <a:xfrm>
            <a:off x="227684" y="3448058"/>
            <a:ext cx="670384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91B2DDCB-F0C4-FC82-D9CE-756860FF4707}"/>
              </a:ext>
            </a:extLst>
          </p:cNvPr>
          <p:cNvCxnSpPr>
            <a:cxnSpLocks/>
          </p:cNvCxnSpPr>
          <p:nvPr/>
        </p:nvCxnSpPr>
        <p:spPr>
          <a:xfrm>
            <a:off x="227684" y="5416566"/>
            <a:ext cx="6351536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1B0C082-FD5A-171E-923B-0ED24D70402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94899" y="220648"/>
            <a:ext cx="1039011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In order to boost the cloud-native maturity, we used 3 dimensions to assess the maturity of the </a:t>
            </a:r>
            <a:r>
              <a:rPr lang="en-US" altLang="zh-CN" dirty="0"/>
              <a:t>XXXX</a:t>
            </a:r>
            <a:r>
              <a:rPr lang="en-US" dirty="0"/>
              <a:t> use case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2171E3C-0CF6-2112-08E8-BBF562E870C3}"/>
              </a:ext>
            </a:extLst>
          </p:cNvPr>
          <p:cNvCxnSpPr>
            <a:cxnSpLocks/>
          </p:cNvCxnSpPr>
          <p:nvPr/>
        </p:nvCxnSpPr>
        <p:spPr>
          <a:xfrm>
            <a:off x="227684" y="1389590"/>
            <a:ext cx="11567441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63B28D01-E35C-2EF0-62F9-07466C457706}"/>
              </a:ext>
            </a:extLst>
          </p:cNvPr>
          <p:cNvSpPr txBox="1"/>
          <p:nvPr/>
        </p:nvSpPr>
        <p:spPr>
          <a:xfrm>
            <a:off x="5445125" y="1140352"/>
            <a:ext cx="2112963" cy="20002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ment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3BE7E4C7-8E70-44E9-ABFC-9549772F9543}"/>
              </a:ext>
            </a:extLst>
          </p:cNvPr>
          <p:cNvSpPr txBox="1">
            <a:spLocks/>
          </p:cNvSpPr>
          <p:nvPr/>
        </p:nvSpPr>
        <p:spPr>
          <a:xfrm>
            <a:off x="6351445" y="865743"/>
            <a:ext cx="65" cy="12382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1197BEA-12F0-46F5-9725-957DB851C801}"/>
              </a:ext>
            </a:extLst>
          </p:cNvPr>
          <p:cNvGrpSpPr/>
          <p:nvPr/>
        </p:nvGrpSpPr>
        <p:grpSpPr>
          <a:xfrm>
            <a:off x="4507385" y="814335"/>
            <a:ext cx="1032704" cy="123825"/>
            <a:chOff x="4475029" y="568599"/>
            <a:chExt cx="1032704" cy="123183"/>
          </a:xfrm>
        </p:grpSpPr>
        <p:sp>
          <p:nvSpPr>
            <p:cNvPr id="119" name="矩形 156">
              <a:extLst>
                <a:ext uri="{FF2B5EF4-FFF2-40B4-BE49-F238E27FC236}">
                  <a16:creationId xmlns:a16="http://schemas.microsoft.com/office/drawing/2014/main" id="{4F502EFC-1E5A-459A-8D39-35B4093E1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029" y="568599"/>
              <a:ext cx="190494" cy="123183"/>
            </a:xfrm>
            <a:prstGeom prst="rect">
              <a:avLst/>
            </a:prstGeom>
            <a:solidFill>
              <a:schemeClr val="bg1">
                <a:alpha val="32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CFE402C0-0BDD-4E81-8701-F4E5EAEC4603}"/>
                </a:ext>
              </a:extLst>
            </p:cNvPr>
            <p:cNvSpPr txBox="1"/>
            <p:nvPr/>
          </p:nvSpPr>
          <p:spPr>
            <a:xfrm>
              <a:off x="4717452" y="568599"/>
              <a:ext cx="790281" cy="12247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t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bie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69AC2109-76B1-4A7F-97F7-00CAD8954474}"/>
              </a:ext>
            </a:extLst>
          </p:cNvPr>
          <p:cNvGrpSpPr/>
          <p:nvPr/>
        </p:nvGrpSpPr>
        <p:grpSpPr>
          <a:xfrm>
            <a:off x="7086358" y="814335"/>
            <a:ext cx="563024" cy="123825"/>
            <a:chOff x="4475029" y="750216"/>
            <a:chExt cx="563024" cy="123183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3EA89DAF-9461-4ADC-81E2-8DC0E11B92D3}"/>
                </a:ext>
              </a:extLst>
            </p:cNvPr>
            <p:cNvSpPr txBox="1"/>
            <p:nvPr/>
          </p:nvSpPr>
          <p:spPr>
            <a:xfrm>
              <a:off x="4717452" y="750216"/>
              <a:ext cx="320601" cy="12247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ture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矩形 156">
              <a:extLst>
                <a:ext uri="{FF2B5EF4-FFF2-40B4-BE49-F238E27FC236}">
                  <a16:creationId xmlns:a16="http://schemas.microsoft.com/office/drawing/2014/main" id="{AF15C1CC-15A4-4A41-BDAA-4E7DA58AB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029" y="750216"/>
              <a:ext cx="190494" cy="123183"/>
            </a:xfrm>
            <a:prstGeom prst="rect">
              <a:avLst/>
            </a:prstGeom>
            <a:solidFill>
              <a:schemeClr val="bg1">
                <a:alpha val="32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C810196-00D6-458B-9859-78AEE0D9B237}"/>
              </a:ext>
            </a:extLst>
          </p:cNvPr>
          <p:cNvGrpSpPr/>
          <p:nvPr/>
        </p:nvGrpSpPr>
        <p:grpSpPr>
          <a:xfrm>
            <a:off x="5694923" y="814335"/>
            <a:ext cx="1236601" cy="123825"/>
            <a:chOff x="5965841" y="568599"/>
            <a:chExt cx="1236601" cy="123183"/>
          </a:xfrm>
        </p:grpSpPr>
        <p:sp>
          <p:nvSpPr>
            <p:cNvPr id="125" name="矩形 156">
              <a:extLst>
                <a:ext uri="{FF2B5EF4-FFF2-40B4-BE49-F238E27FC236}">
                  <a16:creationId xmlns:a16="http://schemas.microsoft.com/office/drawing/2014/main" id="{A60ABBDC-3074-41BE-90C0-D619DC6D4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841" y="568599"/>
              <a:ext cx="190494" cy="123183"/>
            </a:xfrm>
            <a:prstGeom prst="rect">
              <a:avLst/>
            </a:prstGeom>
            <a:solidFill>
              <a:schemeClr val="bg1">
                <a:alpha val="32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2E872B50-2B67-4A4F-843C-71ED816694DF}"/>
                </a:ext>
              </a:extLst>
            </p:cNvPr>
            <p:cNvSpPr txBox="1"/>
            <p:nvPr/>
          </p:nvSpPr>
          <p:spPr>
            <a:xfrm>
              <a:off x="6223007" y="568599"/>
              <a:ext cx="979435" cy="12247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ic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tion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3AA9150-41F8-42A5-89F3-A795C4AB7B94}"/>
              </a:ext>
            </a:extLst>
          </p:cNvPr>
          <p:cNvGrpSpPr/>
          <p:nvPr/>
        </p:nvGrpSpPr>
        <p:grpSpPr>
          <a:xfrm>
            <a:off x="7804217" y="814335"/>
            <a:ext cx="1400108" cy="123825"/>
            <a:chOff x="5965841" y="750216"/>
            <a:chExt cx="1400108" cy="123183"/>
          </a:xfrm>
        </p:grpSpPr>
        <p:sp>
          <p:nvSpPr>
            <p:cNvPr id="128" name="矩形 156">
              <a:extLst>
                <a:ext uri="{FF2B5EF4-FFF2-40B4-BE49-F238E27FC236}">
                  <a16:creationId xmlns:a16="http://schemas.microsoft.com/office/drawing/2014/main" id="{3CFF9516-0D0F-4A55-945F-35C1DEA20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841" y="750216"/>
              <a:ext cx="190494" cy="123183"/>
            </a:xfrm>
            <a:prstGeom prst="rect">
              <a:avLst/>
            </a:prstGeom>
            <a:solidFill>
              <a:schemeClr val="bg1">
                <a:alpha val="32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05C81033-4C30-4854-A14F-697A8FB06198}"/>
                </a:ext>
              </a:extLst>
            </p:cNvPr>
            <p:cNvSpPr txBox="1"/>
            <p:nvPr/>
          </p:nvSpPr>
          <p:spPr>
            <a:xfrm>
              <a:off x="6223007" y="750216"/>
              <a:ext cx="1142942" cy="12247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active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amp;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tting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dge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FFEF40A1-A691-4DD0-8BEE-E1E760569AC9}"/>
              </a:ext>
            </a:extLst>
          </p:cNvPr>
          <p:cNvGrpSpPr/>
          <p:nvPr/>
        </p:nvGrpSpPr>
        <p:grpSpPr>
          <a:xfrm>
            <a:off x="3440073" y="814335"/>
            <a:ext cx="912478" cy="123825"/>
            <a:chOff x="4475029" y="568599"/>
            <a:chExt cx="912478" cy="123183"/>
          </a:xfrm>
        </p:grpSpPr>
        <p:sp>
          <p:nvSpPr>
            <p:cNvPr id="131" name="矩形 156">
              <a:extLst>
                <a:ext uri="{FF2B5EF4-FFF2-40B4-BE49-F238E27FC236}">
                  <a16:creationId xmlns:a16="http://schemas.microsoft.com/office/drawing/2014/main" id="{3459C444-8BCD-4E74-8D14-FF833B7E4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029" y="568599"/>
              <a:ext cx="190494" cy="123183"/>
            </a:xfrm>
            <a:prstGeom prst="rect">
              <a:avLst/>
            </a:prstGeom>
            <a:solidFill>
              <a:schemeClr val="bg1">
                <a:alpha val="32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6479CAF-A335-4FA7-A09C-A92C21A7BBB2}"/>
                </a:ext>
              </a:extLst>
            </p:cNvPr>
            <p:cNvSpPr txBox="1"/>
            <p:nvPr/>
          </p:nvSpPr>
          <p:spPr>
            <a:xfrm>
              <a:off x="4717452" y="568599"/>
              <a:ext cx="670055" cy="12247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capabilities</a:t>
              </a:r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0B5738D-ACC3-CE3F-0381-C92CDAD254A4}"/>
              </a:ext>
            </a:extLst>
          </p:cNvPr>
          <p:cNvSpPr>
            <a:spLocks/>
          </p:cNvSpPr>
          <p:nvPr/>
        </p:nvSpPr>
        <p:spPr>
          <a:xfrm>
            <a:off x="227684" y="5449110"/>
            <a:ext cx="950780" cy="81121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6D8A2C2-B91A-26E9-71AA-C2B8A936CEB1}"/>
              </a:ext>
            </a:extLst>
          </p:cNvPr>
          <p:cNvSpPr>
            <a:spLocks/>
          </p:cNvSpPr>
          <p:nvPr/>
        </p:nvSpPr>
        <p:spPr>
          <a:xfrm>
            <a:off x="227684" y="3480602"/>
            <a:ext cx="950780" cy="19034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76F5751-8932-2279-C2E9-B857F397506E}"/>
              </a:ext>
            </a:extLst>
          </p:cNvPr>
          <p:cNvSpPr>
            <a:spLocks/>
          </p:cNvSpPr>
          <p:nvPr/>
        </p:nvSpPr>
        <p:spPr>
          <a:xfrm>
            <a:off x="227684" y="1727994"/>
            <a:ext cx="950780" cy="16875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A2B1B48-5644-ADA4-291E-4E5D9EF9BF63}"/>
              </a:ext>
            </a:extLst>
          </p:cNvPr>
          <p:cNvSpPr txBox="1">
            <a:spLocks/>
          </p:cNvSpPr>
          <p:nvPr/>
        </p:nvSpPr>
        <p:spPr>
          <a:xfrm>
            <a:off x="227684" y="1151435"/>
            <a:ext cx="1987724" cy="200055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diness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1" name="Graphic 140">
            <a:extLst>
              <a:ext uri="{FF2B5EF4-FFF2-40B4-BE49-F238E27FC236}">
                <a16:creationId xmlns:a16="http://schemas.microsoft.com/office/drawing/2014/main" id="{7ABC8DF2-FF68-98C3-CB1F-CF7554D16F3A}"/>
              </a:ext>
            </a:extLst>
          </p:cNvPr>
          <p:cNvPicPr>
            <a:picLocks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729855" y="5807477"/>
            <a:ext cx="382588" cy="382588"/>
          </a:xfrm>
          <a:prstGeom prst="rect">
            <a:avLst/>
          </a:prstGeom>
        </p:spPr>
      </p:pic>
      <p:pic>
        <p:nvPicPr>
          <p:cNvPr id="142" name="Graphic 141">
            <a:extLst>
              <a:ext uri="{FF2B5EF4-FFF2-40B4-BE49-F238E27FC236}">
                <a16:creationId xmlns:a16="http://schemas.microsoft.com/office/drawing/2014/main" id="{14442998-E83D-0C74-D5B6-357781D64937}"/>
              </a:ext>
            </a:extLst>
          </p:cNvPr>
          <p:cNvPicPr>
            <a:picLocks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729855" y="2901982"/>
            <a:ext cx="382588" cy="382588"/>
          </a:xfrm>
          <a:prstGeom prst="rect">
            <a:avLst/>
          </a:prstGeom>
        </p:spPr>
      </p:pic>
      <p:pic>
        <p:nvPicPr>
          <p:cNvPr id="143" name="Graphic 142">
            <a:extLst>
              <a:ext uri="{FF2B5EF4-FFF2-40B4-BE49-F238E27FC236}">
                <a16:creationId xmlns:a16="http://schemas.microsoft.com/office/drawing/2014/main" id="{35ECB3C0-69EB-4C24-C9C4-4F18690B69D4}"/>
              </a:ext>
            </a:extLst>
          </p:cNvPr>
          <p:cNvPicPr>
            <a:picLocks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729855" y="4854593"/>
            <a:ext cx="382588" cy="382588"/>
          </a:xfrm>
          <a:prstGeom prst="rect">
            <a:avLst/>
          </a:prstGeom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DDC67DE9-6AF6-9EAC-AB33-FEB7F4999704}"/>
              </a:ext>
            </a:extLst>
          </p:cNvPr>
          <p:cNvSpPr txBox="1">
            <a:spLocks/>
          </p:cNvSpPr>
          <p:nvPr/>
        </p:nvSpPr>
        <p:spPr>
          <a:xfrm>
            <a:off x="7842717" y="1130022"/>
            <a:ext cx="3990908" cy="20005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</a:t>
            </a:r>
            <a:r>
              <a:rPr kumimoji="0" lang="zh-CN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07" name="Chart 306">
            <a:extLst>
              <a:ext uri="{FF2B5EF4-FFF2-40B4-BE49-F238E27FC236}">
                <a16:creationId xmlns:a16="http://schemas.microsoft.com/office/drawing/2014/main" id="{609A5D9A-E8D3-1F59-FEB8-27A95414B58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460338"/>
              </p:ext>
            </p:extLst>
          </p:nvPr>
        </p:nvGraphicFramePr>
        <p:xfrm>
          <a:off x="5362575" y="1612900"/>
          <a:ext cx="2325688" cy="476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669CC922-C92E-368E-B499-A7084496581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708775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7090FA0-E148-430F-8BBC-652C23120744}" type="datetime'''''''''''''''''''''''''''2''''''.''''5'''''''''''''''''''">
              <a:rPr lang="en-US" altLang="en-US" sz="1000" kern="0" smtClean="0">
                <a:solidFill>
                  <a:srgbClr val="080808"/>
                </a:solidFill>
              </a:rPr>
              <a:pPr algn="ctr"/>
              <a:t>2.5</a:t>
            </a:fld>
            <a:endParaRPr lang="en-US" sz="1000" kern="0" dirty="0">
              <a:solidFill>
                <a:srgbClr val="080808"/>
              </a:solidFill>
            </a:endParaRPr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D367E2D0-7EA0-699F-731A-188BED9A92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167438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B560E80-DE6B-456C-9472-A1F29D61F72E}" type="datetime'''''''''1''''''''''''''''''.''5'''">
              <a:rPr lang="en-US" altLang="en-US" sz="1000" kern="0" smtClean="0">
                <a:solidFill>
                  <a:srgbClr val="080808"/>
                </a:solidFill>
              </a:rPr>
              <a:pPr algn="ctr"/>
              <a:t>1.5</a:t>
            </a:fld>
            <a:endParaRPr lang="en-US" sz="1000" kern="0" dirty="0">
              <a:solidFill>
                <a:srgbClr val="080808"/>
              </a:solidFill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E29C5097-E979-4C08-B735-514D081E89A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410200" y="15001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buClr>
                <a:srgbClr val="080808"/>
              </a:buClr>
              <a:defRPr/>
            </a:pPr>
            <a:fld id="{607E89E6-C454-4E0D-8516-7C48866F80B7}" type="datetime'0'''''''''''''''''''''''''">
              <a:rPr lang="en-US" altLang="en-US" sz="1000" kern="0" smtClean="0">
                <a:solidFill>
                  <a:srgbClr val="080808"/>
                </a:solidFill>
              </a:rPr>
              <a:pPr lvl="0" algn="ctr">
                <a:buClr>
                  <a:srgbClr val="080808"/>
                </a:buClr>
                <a:defRPr/>
              </a:pPr>
              <a:t>0</a:t>
            </a:fld>
            <a:endParaRPr kumimoji="0" lang="en-US" sz="1000" b="0" i="0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</a:endParaRPr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BDF1BDC4-0CCF-5883-197E-41C025B7310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248525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A17444F-BCCC-4BD1-8937-5DD1BBE009D7}" type="datetime'''''''''''''''''''''''''''''''3''''''''.''''''''''5'''">
              <a:rPr lang="en-US" altLang="en-US" sz="1000" kern="0" smtClean="0">
                <a:solidFill>
                  <a:srgbClr val="080808"/>
                </a:solidFill>
              </a:rPr>
              <a:pPr algn="ctr"/>
              <a:t>3.5</a:t>
            </a:fld>
            <a:endParaRPr lang="en-US" sz="1000" kern="0" dirty="0">
              <a:solidFill>
                <a:srgbClr val="080808"/>
              </a:solidFill>
            </a:endParaRPr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FD6416F9-6FB3-3071-8354-7D4C03A6969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627688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990D90-22CA-4EC0-B199-FF31A1DA72AA}" type="datetime'''''''''''''''''''''''''''''''''''''''''0''''.''''5'">
              <a:rPr lang="en-US" altLang="en-US" sz="1000" kern="0" smtClean="0">
                <a:solidFill>
                  <a:srgbClr val="080808"/>
                </a:solidFill>
              </a:rPr>
              <a:pPr algn="ctr"/>
              <a:t>0.5</a:t>
            </a:fld>
            <a:endParaRPr lang="en-US" sz="1000" kern="0" dirty="0">
              <a:solidFill>
                <a:srgbClr val="080808"/>
              </a:solidFill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234080E1-5598-5397-AC2F-F28D68E496E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518400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15F16D3-FB85-495B-B7D7-5D1D82888FD9}" type="datetime'''''''''''''''''''''''4''''''''''''''''''''.''''''''''0'">
              <a:rPr lang="en-US" altLang="en-US" sz="1000" kern="0" smtClean="0">
                <a:solidFill>
                  <a:srgbClr val="080808"/>
                </a:solidFill>
              </a:rPr>
              <a:pPr/>
              <a:t>4.0</a:t>
            </a:fld>
            <a:endParaRPr lang="en-US" sz="1000" kern="0" dirty="0">
              <a:solidFill>
                <a:srgbClr val="080808"/>
              </a:solidFill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6F6790F9-88DE-A391-51CA-75D8641D2E9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978650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buClr>
                <a:srgbClr val="080808"/>
              </a:buClr>
              <a:defRPr/>
            </a:pPr>
            <a:fld id="{F0098581-8BED-43C3-98B6-89DB29DB21D8}" type="datetime'''''''3''''''''''.''''''''''''''''''''0'''''">
              <a:rPr lang="en-US" altLang="en-US" sz="1000" kern="0" smtClean="0">
                <a:solidFill>
                  <a:srgbClr val="080808"/>
                </a:solidFill>
              </a:rPr>
              <a:pPr lvl="0" algn="ctr">
                <a:buClr>
                  <a:srgbClr val="080808"/>
                </a:buClr>
                <a:defRPr/>
              </a:pPr>
              <a:t>3.0</a:t>
            </a:fld>
            <a:endParaRPr kumimoji="0" lang="en-US" sz="1000" b="0" i="0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66BB2538-C936-4938-92D9-A997488C990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438900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buClr>
                <a:srgbClr val="080808"/>
              </a:buClr>
              <a:defRPr/>
            </a:pPr>
            <a:fld id="{E0F96260-F207-4E1C-BB1F-ACB331DF01BD}" type="datetime'''''''''''''''''''2''''''''''''''''''''''''''''''''''''.0'''''">
              <a:rPr lang="en-US" altLang="en-US" sz="1000" kern="0" smtClean="0">
                <a:solidFill>
                  <a:srgbClr val="080808"/>
                </a:solidFill>
              </a:rPr>
              <a:pPr lvl="0" algn="ctr">
                <a:buClr>
                  <a:srgbClr val="080808"/>
                </a:buClr>
                <a:defRPr/>
              </a:pPr>
              <a:t>2.0</a:t>
            </a:fld>
            <a:endParaRPr kumimoji="0" lang="en-US" sz="1000" b="0" i="0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A5CDE479-A581-C8E2-6150-3797E3C92C1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897563" y="15001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buClr>
                <a:srgbClr val="080808"/>
              </a:buClr>
              <a:defRPr/>
            </a:pPr>
            <a:fld id="{536262AF-DF0A-4070-A67C-8036D6F5A093}" type="datetime'''''''''''''''''''''''''''''''''''''''''''1.''0'">
              <a:rPr lang="en-US" altLang="en-US" sz="1000" kern="0" smtClean="0">
                <a:solidFill>
                  <a:srgbClr val="080808"/>
                </a:solidFill>
              </a:rPr>
              <a:pPr lvl="0" algn="ctr">
                <a:buClr>
                  <a:srgbClr val="080808"/>
                </a:buClr>
                <a:defRPr/>
              </a:pPr>
              <a:t>1.0</a:t>
            </a:fld>
            <a:endParaRPr kumimoji="0" lang="en-US" sz="1000" b="0" i="0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81CBF3B-CAF7-1AD3-555A-2534C0D027E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065963" y="1695450"/>
            <a:ext cx="0" cy="4597400"/>
          </a:xfrm>
          <a:prstGeom prst="line">
            <a:avLst/>
          </a:prstGeom>
          <a:ln w="254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0A33BAA-4ACE-D48D-F3F1-81E9A1A6B99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7335838" y="1695450"/>
            <a:ext cx="0" cy="4597400"/>
          </a:xfrm>
          <a:prstGeom prst="line">
            <a:avLst/>
          </a:prstGeom>
          <a:ln w="254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09D5E8A-E123-4E62-9A30-F5840459077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466263" y="992188"/>
            <a:ext cx="109538" cy="1095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16894E-0C4C-4D48-A0E9-044EAEED4EB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466263" y="819150"/>
            <a:ext cx="109538" cy="1095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6A6FFA90-B9F5-4A35-B9C7-C4A06819FB9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626600" y="815975"/>
            <a:ext cx="5905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fld id="{2AAEED64-C33B-4B41-B16C-9873EA15D95C}" type="datetime'C''''''ur''''r''e''''''''''''nt'''''''''''' s''t''''a''''t''e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t>Current state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8282566A-DB93-40C0-8F10-E3F7FB5114A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26600" y="989013"/>
            <a:ext cx="636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6pPr>
            <a:lvl7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7pPr>
            <a:lvl8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8pPr>
            <a:lvl9pPr marL="764542" indent="-132733" algn="l" defTabSz="9129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fld id="{769939E7-3A4A-4050-AADB-0B49BF40A21A}" type="datetime'''''S''a''tell''''''''it''''''''''''e c''lo''u''''''''''d''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t>Satellite cloud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77012CB-C4CD-72FC-9330-105EBB67FF9C}"/>
              </a:ext>
            </a:extLst>
          </p:cNvPr>
          <p:cNvSpPr txBox="1">
            <a:spLocks/>
          </p:cNvSpPr>
          <p:nvPr/>
        </p:nvSpPr>
        <p:spPr>
          <a:xfrm>
            <a:off x="3919081" y="1134555"/>
            <a:ext cx="1265583" cy="21162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Are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0AC71091-B8DE-4A5E-D651-2429B0E82637}"/>
              </a:ext>
            </a:extLst>
          </p:cNvPr>
          <p:cNvSpPr>
            <a:spLocks noChangeAspect="1"/>
          </p:cNvSpPr>
          <p:nvPr/>
        </p:nvSpPr>
        <p:spPr>
          <a:xfrm>
            <a:off x="3919081" y="1460863"/>
            <a:ext cx="239715" cy="234922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725A2D3-5FC5-434A-BAB7-81A7E4B0575A}"/>
              </a:ext>
            </a:extLst>
          </p:cNvPr>
          <p:cNvGrpSpPr/>
          <p:nvPr/>
        </p:nvGrpSpPr>
        <p:grpSpPr>
          <a:xfrm>
            <a:off x="1254312" y="4574394"/>
            <a:ext cx="2862757" cy="152400"/>
            <a:chOff x="1254312" y="4574394"/>
            <a:chExt cx="2862757" cy="152400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D16EA91-F50C-046B-4809-9CAFB219ECFD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4574394"/>
              <a:ext cx="2476254" cy="1524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6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evelopment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emplat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3" name="Checkmark 27">
              <a:extLst>
                <a:ext uri="{FF2B5EF4-FFF2-40B4-BE49-F238E27FC236}">
                  <a16:creationId xmlns:a16="http://schemas.microsoft.com/office/drawing/2014/main" id="{D081DF49-FC96-8B90-DA96-C29CD305D60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3960807" y="4574394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DE7BA08-B37E-4FB5-BCEE-BB953E9E200E}"/>
              </a:ext>
            </a:extLst>
          </p:cNvPr>
          <p:cNvGrpSpPr/>
          <p:nvPr/>
        </p:nvGrpSpPr>
        <p:grpSpPr>
          <a:xfrm>
            <a:off x="1254312" y="2166146"/>
            <a:ext cx="2861838" cy="153988"/>
            <a:chOff x="1254312" y="2166146"/>
            <a:chExt cx="2861838" cy="153988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0E981320-6B0E-C566-9992-7656CECAD288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2166146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PI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riven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4" name="Checkmark 27">
              <a:extLst>
                <a:ext uri="{FF2B5EF4-FFF2-40B4-BE49-F238E27FC236}">
                  <a16:creationId xmlns:a16="http://schemas.microsoft.com/office/drawing/2014/main" id="{DC310A65-A77E-249B-D451-96DD35B189C7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3961727" y="2166146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F7B620B-189A-46A3-89DA-910B8EF317F0}"/>
              </a:ext>
            </a:extLst>
          </p:cNvPr>
          <p:cNvGrpSpPr/>
          <p:nvPr/>
        </p:nvGrpSpPr>
        <p:grpSpPr>
          <a:xfrm>
            <a:off x="1254312" y="3918754"/>
            <a:ext cx="2862736" cy="153988"/>
            <a:chOff x="1254312" y="3918754"/>
            <a:chExt cx="2862736" cy="153988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BD82E33-7389-9032-2335-62A028E9654D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3918754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nfiguration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untime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de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eparation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5" name="Checkmark 27">
              <a:extLst>
                <a:ext uri="{FF2B5EF4-FFF2-40B4-BE49-F238E27FC236}">
                  <a16:creationId xmlns:a16="http://schemas.microsoft.com/office/drawing/2014/main" id="{B8ECAE27-1442-89FF-639C-7BA1F847D69D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3960829" y="3918754"/>
              <a:ext cx="156219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6" name="Oval 165">
            <a:extLst>
              <a:ext uri="{FF2B5EF4-FFF2-40B4-BE49-F238E27FC236}">
                <a16:creationId xmlns:a16="http://schemas.microsoft.com/office/drawing/2014/main" id="{32040C74-ECC2-7EAA-50C3-2DC64E9977D6}"/>
              </a:ext>
            </a:extLst>
          </p:cNvPr>
          <p:cNvSpPr>
            <a:spLocks noChangeAspect="1"/>
          </p:cNvSpPr>
          <p:nvPr/>
        </p:nvSpPr>
        <p:spPr>
          <a:xfrm>
            <a:off x="4261037" y="1460863"/>
            <a:ext cx="239715" cy="234922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E3A78E2-9246-4236-B0BF-4A74EAA243FB}"/>
              </a:ext>
            </a:extLst>
          </p:cNvPr>
          <p:cNvGrpSpPr/>
          <p:nvPr/>
        </p:nvGrpSpPr>
        <p:grpSpPr>
          <a:xfrm>
            <a:off x="1254312" y="1947070"/>
            <a:ext cx="3204692" cy="153988"/>
            <a:chOff x="1254312" y="1947070"/>
            <a:chExt cx="3204692" cy="15398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CCFB163-E11D-E2B6-AB6E-1C7F18BAE7E6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1947070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2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acking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ervice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2" name="Checkmark 27">
              <a:extLst>
                <a:ext uri="{FF2B5EF4-FFF2-40B4-BE49-F238E27FC236}">
                  <a16:creationId xmlns:a16="http://schemas.microsoft.com/office/drawing/2014/main" id="{8FCFC47D-4F69-76C3-8C09-901599A9C925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3961727" y="1947070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Checkmark 27">
              <a:extLst>
                <a:ext uri="{FF2B5EF4-FFF2-40B4-BE49-F238E27FC236}">
                  <a16:creationId xmlns:a16="http://schemas.microsoft.com/office/drawing/2014/main" id="{1F6273B7-F8EA-C783-6FD3-E4BE6C1B22C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02785" y="1947070"/>
              <a:ext cx="156219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5570B93-8FFA-4DD2-A838-93917B60E70B}"/>
              </a:ext>
            </a:extLst>
          </p:cNvPr>
          <p:cNvGrpSpPr/>
          <p:nvPr/>
        </p:nvGrpSpPr>
        <p:grpSpPr>
          <a:xfrm>
            <a:off x="1254312" y="2385222"/>
            <a:ext cx="3203794" cy="153988"/>
            <a:chOff x="1254312" y="2385222"/>
            <a:chExt cx="3203794" cy="153988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6C4D8C24-030E-9CCC-EF4A-E7F1790AF597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2385222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ecouple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nfiguration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3" name="Checkmark 27">
              <a:extLst>
                <a:ext uri="{FF2B5EF4-FFF2-40B4-BE49-F238E27FC236}">
                  <a16:creationId xmlns:a16="http://schemas.microsoft.com/office/drawing/2014/main" id="{DE5B87ED-D023-6C10-64D8-849EBBD7C6C9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03683" y="238522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6C844CB-2E95-4E33-BFBF-2499CB7DD84C}"/>
              </a:ext>
            </a:extLst>
          </p:cNvPr>
          <p:cNvGrpSpPr/>
          <p:nvPr/>
        </p:nvGrpSpPr>
        <p:grpSpPr>
          <a:xfrm>
            <a:off x="1254312" y="3042450"/>
            <a:ext cx="3204692" cy="153988"/>
            <a:chOff x="1254312" y="3042450"/>
            <a:chExt cx="3204692" cy="153988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C01B3A58-AF84-D247-019F-D79EA807DD7F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3042450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-3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7</a:t>
              </a:r>
              <a:r>
                <a:rPr kumimoji="0" lang="zh-CN" altLang="en-US" sz="1000" b="0" i="0" u="none" strike="noStrike" kern="1200" cap="none" spc="-3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-3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Graceful</a:t>
              </a:r>
              <a:r>
                <a:rPr kumimoji="0" lang="zh-CN" altLang="en-US" sz="1000" b="0" i="0" u="none" strike="noStrike" kern="1200" cap="none" spc="-3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-3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hutdown</a:t>
              </a:r>
              <a:endPara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4" name="Checkmark 27">
              <a:extLst>
                <a:ext uri="{FF2B5EF4-FFF2-40B4-BE49-F238E27FC236}">
                  <a16:creationId xmlns:a16="http://schemas.microsoft.com/office/drawing/2014/main" id="{2D860DA4-8180-5434-11D8-315E80615DEA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02785" y="3042450"/>
              <a:ext cx="156219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15CAD1A-B990-47AF-8D0C-428E39125134}"/>
              </a:ext>
            </a:extLst>
          </p:cNvPr>
          <p:cNvGrpSpPr/>
          <p:nvPr/>
        </p:nvGrpSpPr>
        <p:grpSpPr>
          <a:xfrm>
            <a:off x="1254312" y="6106338"/>
            <a:ext cx="3204713" cy="153988"/>
            <a:chOff x="1254312" y="6106338"/>
            <a:chExt cx="3204713" cy="153988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F3CCC7B-399C-015C-D031-FF261C3D256F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6106338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LA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5" name="Checkmark 27">
              <a:extLst>
                <a:ext uri="{FF2B5EF4-FFF2-40B4-BE49-F238E27FC236}">
                  <a16:creationId xmlns:a16="http://schemas.microsoft.com/office/drawing/2014/main" id="{B09F6497-C4B8-4BD2-E0F4-2B582AB23454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02763" y="6106338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803626F-FA1B-4904-AA30-943744299B9F}"/>
              </a:ext>
            </a:extLst>
          </p:cNvPr>
          <p:cNvGrpSpPr/>
          <p:nvPr/>
        </p:nvGrpSpPr>
        <p:grpSpPr>
          <a:xfrm>
            <a:off x="1254312" y="5887262"/>
            <a:ext cx="3203794" cy="153988"/>
            <a:chOff x="1254312" y="5887262"/>
            <a:chExt cx="3203794" cy="153988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598B30F-2822-A543-63F1-1779D905C40D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5887262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.3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cident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unbooks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78" name="Checkmark 27">
              <a:extLst>
                <a:ext uri="{FF2B5EF4-FFF2-40B4-BE49-F238E27FC236}">
                  <a16:creationId xmlns:a16="http://schemas.microsoft.com/office/drawing/2014/main" id="{A0CB277E-3DFF-44E8-C673-838EE4A87B02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03683" y="588726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8" name="Oval 167">
            <a:extLst>
              <a:ext uri="{FF2B5EF4-FFF2-40B4-BE49-F238E27FC236}">
                <a16:creationId xmlns:a16="http://schemas.microsoft.com/office/drawing/2014/main" id="{2E36A5F4-72DB-234B-941C-A8F0DA09EB76}"/>
              </a:ext>
            </a:extLst>
          </p:cNvPr>
          <p:cNvSpPr>
            <a:spLocks noChangeAspect="1"/>
          </p:cNvSpPr>
          <p:nvPr/>
        </p:nvSpPr>
        <p:spPr>
          <a:xfrm>
            <a:off x="4602993" y="1460863"/>
            <a:ext cx="239715" cy="234922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8D144C9-B256-44FB-8BDF-D7BBBE5A054B}"/>
              </a:ext>
            </a:extLst>
          </p:cNvPr>
          <p:cNvGrpSpPr/>
          <p:nvPr/>
        </p:nvGrpSpPr>
        <p:grpSpPr>
          <a:xfrm>
            <a:off x="1254312" y="2604298"/>
            <a:ext cx="3545750" cy="153988"/>
            <a:chOff x="1254312" y="2604298"/>
            <a:chExt cx="3545750" cy="153988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9B4B73BD-B34A-6433-9F17-80D564B4A58D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2604298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5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etrics-enable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1" name="Checkmark 27">
              <a:extLst>
                <a:ext uri="{FF2B5EF4-FFF2-40B4-BE49-F238E27FC236}">
                  <a16:creationId xmlns:a16="http://schemas.microsoft.com/office/drawing/2014/main" id="{46F025C2-569B-2595-932D-CCA9E2C74FFA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645639" y="2604298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68022DC-49AC-4A61-82DB-CFF2B972B4A0}"/>
              </a:ext>
            </a:extLst>
          </p:cNvPr>
          <p:cNvGrpSpPr/>
          <p:nvPr/>
        </p:nvGrpSpPr>
        <p:grpSpPr>
          <a:xfrm>
            <a:off x="1254312" y="2823374"/>
            <a:ext cx="3545750" cy="153988"/>
            <a:chOff x="1254312" y="2823374"/>
            <a:chExt cx="3545750" cy="153988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AA77C9C-47C1-6BFB-852C-A4606B6C13D5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2823374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6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Logging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3" name="Checkmark 27">
              <a:extLst>
                <a:ext uri="{FF2B5EF4-FFF2-40B4-BE49-F238E27FC236}">
                  <a16:creationId xmlns:a16="http://schemas.microsoft.com/office/drawing/2014/main" id="{2109C417-3262-7213-75B6-126ABC74EFD6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645639" y="2823374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BC35138-2627-46CF-AD7B-BBEB67191A2D}"/>
              </a:ext>
            </a:extLst>
          </p:cNvPr>
          <p:cNvGrpSpPr/>
          <p:nvPr/>
        </p:nvGrpSpPr>
        <p:grpSpPr>
          <a:xfrm>
            <a:off x="1254312" y="5668186"/>
            <a:ext cx="3546669" cy="153988"/>
            <a:chOff x="1254312" y="5668186"/>
            <a:chExt cx="3546669" cy="153988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E53B606-F608-FC64-EB46-3D8DED0C4DB9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5668186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.2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onitoring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alytic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2" name="Checkmark 27">
              <a:extLst>
                <a:ext uri="{FF2B5EF4-FFF2-40B4-BE49-F238E27FC236}">
                  <a16:creationId xmlns:a16="http://schemas.microsoft.com/office/drawing/2014/main" id="{53EB58EE-598D-EB1D-B737-336165DC9DF8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02763" y="5668186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Checkmark 27">
              <a:extLst>
                <a:ext uri="{FF2B5EF4-FFF2-40B4-BE49-F238E27FC236}">
                  <a16:creationId xmlns:a16="http://schemas.microsoft.com/office/drawing/2014/main" id="{9C3B1800-0AB7-2E14-BAF8-B410F1C3BBB9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644719" y="5668186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B6F36F-BB64-454C-9DFE-995C4372D5EE}"/>
              </a:ext>
            </a:extLst>
          </p:cNvPr>
          <p:cNvGrpSpPr/>
          <p:nvPr/>
        </p:nvGrpSpPr>
        <p:grpSpPr>
          <a:xfrm>
            <a:off x="1254312" y="5449110"/>
            <a:ext cx="3545750" cy="153988"/>
            <a:chOff x="1254312" y="5449110"/>
            <a:chExt cx="3545750" cy="153988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760392AF-F6C0-1EF0-2368-F60BF12A2286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5449110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.1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utomate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lerting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6" name="Checkmark 27">
              <a:extLst>
                <a:ext uri="{FF2B5EF4-FFF2-40B4-BE49-F238E27FC236}">
                  <a16:creationId xmlns:a16="http://schemas.microsoft.com/office/drawing/2014/main" id="{FA486F7F-0477-9C62-7E95-C7C8ADED778E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03683" y="5449110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Checkmark 27">
              <a:extLst>
                <a:ext uri="{FF2B5EF4-FFF2-40B4-BE49-F238E27FC236}">
                  <a16:creationId xmlns:a16="http://schemas.microsoft.com/office/drawing/2014/main" id="{48CEEB80-2243-BE3C-4157-2667C6CFD7F3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645639" y="5449110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9" name="Oval 168">
            <a:extLst>
              <a:ext uri="{FF2B5EF4-FFF2-40B4-BE49-F238E27FC236}">
                <a16:creationId xmlns:a16="http://schemas.microsoft.com/office/drawing/2014/main" id="{46F03E2E-0F46-DDF9-7EFD-51FE5927A3FB}"/>
              </a:ext>
            </a:extLst>
          </p:cNvPr>
          <p:cNvSpPr>
            <a:spLocks noChangeAspect="1"/>
          </p:cNvSpPr>
          <p:nvPr/>
        </p:nvSpPr>
        <p:spPr>
          <a:xfrm>
            <a:off x="4944949" y="1460863"/>
            <a:ext cx="239715" cy="234922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434A4FD-E1D5-EB37-E991-E7331E911D0A}"/>
              </a:ext>
            </a:extLst>
          </p:cNvPr>
          <p:cNvSpPr txBox="1">
            <a:spLocks/>
          </p:cNvSpPr>
          <p:nvPr/>
        </p:nvSpPr>
        <p:spPr>
          <a:xfrm>
            <a:off x="1254312" y="1727994"/>
            <a:ext cx="2476254" cy="1539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ersion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trolled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debas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Checkmark 27">
            <a:extLst>
              <a:ext uri="{FF2B5EF4-FFF2-40B4-BE49-F238E27FC236}">
                <a16:creationId xmlns:a16="http://schemas.microsoft.com/office/drawing/2014/main" id="{6FF1EBEB-23F8-C4FC-07D1-0D9561424740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3960829" y="1727994"/>
            <a:ext cx="156219" cy="13335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15875" cap="sq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" name="Checkmark 27">
            <a:extLst>
              <a:ext uri="{FF2B5EF4-FFF2-40B4-BE49-F238E27FC236}">
                <a16:creationId xmlns:a16="http://schemas.microsoft.com/office/drawing/2014/main" id="{BC4BA4E8-80CF-4F8A-B312-3711B58B5892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986697" y="1727994"/>
            <a:ext cx="156219" cy="13335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15875" cap="sq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9E23E76-8DA7-40C7-B84A-D0413AA3D5FD}"/>
              </a:ext>
            </a:extLst>
          </p:cNvPr>
          <p:cNvGrpSpPr/>
          <p:nvPr/>
        </p:nvGrpSpPr>
        <p:grpSpPr>
          <a:xfrm>
            <a:off x="1254312" y="4137830"/>
            <a:ext cx="3888604" cy="152400"/>
            <a:chOff x="1254312" y="4137830"/>
            <a:chExt cx="3888604" cy="152400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BC3C3F06-B07A-1A97-3D6C-A71E21B3C8F7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4137830"/>
              <a:ext cx="2476254" cy="1524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4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otecte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redential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4" name="Checkmark 27">
              <a:extLst>
                <a:ext uri="{FF2B5EF4-FFF2-40B4-BE49-F238E27FC236}">
                  <a16:creationId xmlns:a16="http://schemas.microsoft.com/office/drawing/2014/main" id="{2E932C21-739B-A072-C12C-916206912BE9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986697" y="4137830"/>
              <a:ext cx="156219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67EFB10-F209-41FD-889A-B9E1DFE02A80}"/>
              </a:ext>
            </a:extLst>
          </p:cNvPr>
          <p:cNvGrpSpPr/>
          <p:nvPr/>
        </p:nvGrpSpPr>
        <p:grpSpPr>
          <a:xfrm>
            <a:off x="1254312" y="5010958"/>
            <a:ext cx="3888625" cy="153988"/>
            <a:chOff x="1254312" y="5010958"/>
            <a:chExt cx="3888625" cy="153988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A9C8AF7-0B97-46CD-1F79-68BA0DC02A14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5010958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8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olicy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mplianc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6" name="Checkmark 27">
              <a:extLst>
                <a:ext uri="{FF2B5EF4-FFF2-40B4-BE49-F238E27FC236}">
                  <a16:creationId xmlns:a16="http://schemas.microsoft.com/office/drawing/2014/main" id="{E37E6107-9325-3F8C-EA4B-452B43C5543F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3960807" y="5010958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Checkmark 27">
              <a:extLst>
                <a:ext uri="{FF2B5EF4-FFF2-40B4-BE49-F238E27FC236}">
                  <a16:creationId xmlns:a16="http://schemas.microsoft.com/office/drawing/2014/main" id="{19F718E0-D443-98D8-8390-963E9E5FB073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986675" y="5010958"/>
              <a:ext cx="156262" cy="134938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F8C144C-44DF-4541-8EA1-2ED30D2A00C3}"/>
              </a:ext>
            </a:extLst>
          </p:cNvPr>
          <p:cNvGrpSpPr/>
          <p:nvPr/>
        </p:nvGrpSpPr>
        <p:grpSpPr>
          <a:xfrm>
            <a:off x="1254312" y="4355318"/>
            <a:ext cx="3887706" cy="153988"/>
            <a:chOff x="1254312" y="4355318"/>
            <a:chExt cx="3887706" cy="153988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8E181D4-FE1A-0300-C7AE-FA117B47B8AA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4355318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5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ev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ro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arity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7" name="Checkmark 27">
              <a:extLst>
                <a:ext uri="{FF2B5EF4-FFF2-40B4-BE49-F238E27FC236}">
                  <a16:creationId xmlns:a16="http://schemas.microsoft.com/office/drawing/2014/main" id="{98615F28-B680-8806-FBDF-BC4151A3EB3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3961727" y="4355318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Checkmark 27">
              <a:extLst>
                <a:ext uri="{FF2B5EF4-FFF2-40B4-BE49-F238E27FC236}">
                  <a16:creationId xmlns:a16="http://schemas.microsoft.com/office/drawing/2014/main" id="{7A2ECF8D-C316-8EF8-9798-A689B7B6049C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987595" y="4355318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C0B357F-0D2F-4EA4-8E12-AB899BD99C38}"/>
              </a:ext>
            </a:extLst>
          </p:cNvPr>
          <p:cNvGrpSpPr/>
          <p:nvPr/>
        </p:nvGrpSpPr>
        <p:grpSpPr>
          <a:xfrm>
            <a:off x="1254312" y="3480602"/>
            <a:ext cx="3887706" cy="153988"/>
            <a:chOff x="1254312" y="3480602"/>
            <a:chExt cx="3887706" cy="153988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BED8015-3A0A-AAA4-A94C-CA39058E6744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3480602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1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ntainerize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8" name="Checkmark 27">
              <a:extLst>
                <a:ext uri="{FF2B5EF4-FFF2-40B4-BE49-F238E27FC236}">
                  <a16:creationId xmlns:a16="http://schemas.microsoft.com/office/drawing/2014/main" id="{BD695F5F-F07C-1FDE-0D2D-7CAF28F0F6D5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3961727" y="348060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Checkmark 27">
              <a:extLst>
                <a:ext uri="{FF2B5EF4-FFF2-40B4-BE49-F238E27FC236}">
                  <a16:creationId xmlns:a16="http://schemas.microsoft.com/office/drawing/2014/main" id="{731B9AD2-08B2-0168-52B6-56467B7B2A65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03683" y="348060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Checkmark 27">
              <a:extLst>
                <a:ext uri="{FF2B5EF4-FFF2-40B4-BE49-F238E27FC236}">
                  <a16:creationId xmlns:a16="http://schemas.microsoft.com/office/drawing/2014/main" id="{A04AD7E0-CB3A-81AF-9875-6A90C55C2190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645639" y="348060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Checkmark 27">
              <a:extLst>
                <a:ext uri="{FF2B5EF4-FFF2-40B4-BE49-F238E27FC236}">
                  <a16:creationId xmlns:a16="http://schemas.microsoft.com/office/drawing/2014/main" id="{490A986A-4439-39B2-CCA8-76DCF5E416E1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987595" y="348060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81364CA-DFB7-48A5-95DA-A4405610072D}"/>
              </a:ext>
            </a:extLst>
          </p:cNvPr>
          <p:cNvGrpSpPr/>
          <p:nvPr/>
        </p:nvGrpSpPr>
        <p:grpSpPr>
          <a:xfrm>
            <a:off x="1254312" y="4791882"/>
            <a:ext cx="3887706" cy="153988"/>
            <a:chOff x="1254312" y="4791882"/>
            <a:chExt cx="3887706" cy="153988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A2138CE-B438-8552-01F0-1A76B8ED0BFE}"/>
                </a:ext>
              </a:extLst>
            </p:cNvPr>
            <p:cNvSpPr txBox="1">
              <a:spLocks/>
            </p:cNvSpPr>
            <p:nvPr/>
          </p:nvSpPr>
          <p:spPr>
            <a:xfrm>
              <a:off x="1254312" y="4791882"/>
              <a:ext cx="2476254" cy="15398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.7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dify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entralize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D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ipelin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0" name="Checkmark 27">
              <a:extLst>
                <a:ext uri="{FF2B5EF4-FFF2-40B4-BE49-F238E27FC236}">
                  <a16:creationId xmlns:a16="http://schemas.microsoft.com/office/drawing/2014/main" id="{6BC6BCD6-5ADD-79CF-0BFF-E465ACA9B946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3961727" y="479188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3" name="Checkmark 27">
              <a:extLst>
                <a:ext uri="{FF2B5EF4-FFF2-40B4-BE49-F238E27FC236}">
                  <a16:creationId xmlns:a16="http://schemas.microsoft.com/office/drawing/2014/main" id="{4F574233-FBBF-9429-FCE4-83C390C93FE2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987595" y="4791882"/>
              <a:ext cx="154423" cy="133350"/>
            </a:xfrm>
            <a:custGeom>
              <a:avLst/>
              <a:gdLst/>
              <a:ahLst/>
              <a:cxnLst/>
              <a:rect l="0" t="0" r="0" b="0"/>
              <a:pathLst>
                <a:path w="176263" h="183026">
                  <a:moveTo>
                    <a:pt x="66335" y="183025"/>
                  </a:moveTo>
                  <a:lnTo>
                    <a:pt x="65208" y="183025"/>
                  </a:lnTo>
                  <a:lnTo>
                    <a:pt x="64121" y="182624"/>
                  </a:lnTo>
                  <a:lnTo>
                    <a:pt x="63276" y="181858"/>
                  </a:lnTo>
                  <a:lnTo>
                    <a:pt x="2093" y="127518"/>
                  </a:lnTo>
                  <a:lnTo>
                    <a:pt x="201" y="125827"/>
                  </a:lnTo>
                  <a:lnTo>
                    <a:pt x="0" y="122889"/>
                  </a:lnTo>
                  <a:lnTo>
                    <a:pt x="1691" y="120997"/>
                  </a:lnTo>
                  <a:lnTo>
                    <a:pt x="3381" y="119065"/>
                  </a:lnTo>
                  <a:lnTo>
                    <a:pt x="6319" y="118904"/>
                  </a:lnTo>
                  <a:lnTo>
                    <a:pt x="8211" y="120596"/>
                  </a:lnTo>
                  <a:lnTo>
                    <a:pt x="65248" y="171230"/>
                  </a:lnTo>
                  <a:lnTo>
                    <a:pt x="167004" y="2898"/>
                  </a:lnTo>
                  <a:lnTo>
                    <a:pt x="168332" y="725"/>
                  </a:lnTo>
                  <a:lnTo>
                    <a:pt x="171190" y="0"/>
                  </a:lnTo>
                  <a:lnTo>
                    <a:pt x="173364" y="1329"/>
                  </a:lnTo>
                  <a:lnTo>
                    <a:pt x="175537" y="2657"/>
                  </a:lnTo>
                  <a:lnTo>
                    <a:pt x="176262" y="5514"/>
                  </a:lnTo>
                  <a:lnTo>
                    <a:pt x="174933" y="7687"/>
                  </a:lnTo>
                  <a:lnTo>
                    <a:pt x="70279" y="180811"/>
                  </a:lnTo>
                  <a:lnTo>
                    <a:pt x="69555" y="181978"/>
                  </a:lnTo>
                  <a:lnTo>
                    <a:pt x="68387" y="182784"/>
                  </a:lnTo>
                  <a:lnTo>
                    <a:pt x="67020" y="182986"/>
                  </a:lnTo>
                  <a:lnTo>
                    <a:pt x="66777" y="183025"/>
                  </a:lnTo>
                  <a:lnTo>
                    <a:pt x="66576" y="183025"/>
                  </a:lnTo>
                  <a:close/>
                </a:path>
              </a:pathLst>
            </a:custGeom>
            <a:solidFill>
              <a:schemeClr val="accent1"/>
            </a:solidFill>
            <a:ln w="15875" cap="sq">
              <a:solidFill>
                <a:schemeClr val="accent2">
                  <a:lumMod val="7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FA4EEC4E-5CC0-B52D-4EBF-C6F3463B557F}"/>
              </a:ext>
            </a:extLst>
          </p:cNvPr>
          <p:cNvSpPr txBox="1"/>
          <p:nvPr/>
        </p:nvSpPr>
        <p:spPr>
          <a:xfrm>
            <a:off x="6680510" y="6275579"/>
            <a:ext cx="1002189" cy="3061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0" marR="0" lvl="0" indent="0" algn="ctr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8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mmended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8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8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urity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8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8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87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D6EFEB13-AD12-4D47-BA34-2ABC672F2B37}"/>
              </a:ext>
            </a:extLst>
          </p:cNvPr>
          <p:cNvCxnSpPr>
            <a:cxnSpLocks/>
          </p:cNvCxnSpPr>
          <p:nvPr/>
        </p:nvCxnSpPr>
        <p:spPr>
          <a:xfrm>
            <a:off x="1249549" y="1914526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727E92D7-602F-49B7-8325-2C2E681BDE7D}"/>
              </a:ext>
            </a:extLst>
          </p:cNvPr>
          <p:cNvCxnSpPr>
            <a:cxnSpLocks/>
          </p:cNvCxnSpPr>
          <p:nvPr/>
        </p:nvCxnSpPr>
        <p:spPr>
          <a:xfrm>
            <a:off x="1249549" y="2133602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66C24D6D-3D1F-4F6A-A2B9-8545DA645A62}"/>
              </a:ext>
            </a:extLst>
          </p:cNvPr>
          <p:cNvCxnSpPr>
            <a:cxnSpLocks/>
          </p:cNvCxnSpPr>
          <p:nvPr/>
        </p:nvCxnSpPr>
        <p:spPr>
          <a:xfrm>
            <a:off x="1249549" y="2352678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207FF6FD-1DDA-47A4-AD70-3EEF33BA4A47}"/>
              </a:ext>
            </a:extLst>
          </p:cNvPr>
          <p:cNvCxnSpPr>
            <a:cxnSpLocks/>
          </p:cNvCxnSpPr>
          <p:nvPr/>
        </p:nvCxnSpPr>
        <p:spPr>
          <a:xfrm>
            <a:off x="1249549" y="2571754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688C96E6-6B29-46BC-ACD4-45EB4892896C}"/>
              </a:ext>
            </a:extLst>
          </p:cNvPr>
          <p:cNvCxnSpPr>
            <a:cxnSpLocks/>
          </p:cNvCxnSpPr>
          <p:nvPr/>
        </p:nvCxnSpPr>
        <p:spPr>
          <a:xfrm>
            <a:off x="1249549" y="2790830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152225F2-E97E-4D86-9F8F-7C79A5D59D33}"/>
              </a:ext>
            </a:extLst>
          </p:cNvPr>
          <p:cNvCxnSpPr>
            <a:cxnSpLocks/>
          </p:cNvCxnSpPr>
          <p:nvPr/>
        </p:nvCxnSpPr>
        <p:spPr>
          <a:xfrm>
            <a:off x="1249549" y="3009906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7427872B-4C7A-4A78-801A-F65693AF1E4F}"/>
              </a:ext>
            </a:extLst>
          </p:cNvPr>
          <p:cNvCxnSpPr>
            <a:cxnSpLocks/>
          </p:cNvCxnSpPr>
          <p:nvPr/>
        </p:nvCxnSpPr>
        <p:spPr>
          <a:xfrm>
            <a:off x="1249549" y="3228982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DEF6984A-A9AF-4A1E-A752-61AF47667FC0}"/>
              </a:ext>
            </a:extLst>
          </p:cNvPr>
          <p:cNvCxnSpPr>
            <a:cxnSpLocks/>
          </p:cNvCxnSpPr>
          <p:nvPr/>
        </p:nvCxnSpPr>
        <p:spPr>
          <a:xfrm>
            <a:off x="1249549" y="3667134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FDF7319A-63B3-4083-8E98-7750972712C8}"/>
              </a:ext>
            </a:extLst>
          </p:cNvPr>
          <p:cNvCxnSpPr>
            <a:cxnSpLocks/>
          </p:cNvCxnSpPr>
          <p:nvPr/>
        </p:nvCxnSpPr>
        <p:spPr>
          <a:xfrm>
            <a:off x="1249549" y="3886210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0DBE02AD-0394-4963-AD0C-980C53CDACCE}"/>
              </a:ext>
            </a:extLst>
          </p:cNvPr>
          <p:cNvCxnSpPr>
            <a:cxnSpLocks/>
          </p:cNvCxnSpPr>
          <p:nvPr/>
        </p:nvCxnSpPr>
        <p:spPr>
          <a:xfrm>
            <a:off x="1249549" y="4105286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41C2DAEB-EE10-457E-84A7-5E569B067799}"/>
              </a:ext>
            </a:extLst>
          </p:cNvPr>
          <p:cNvCxnSpPr>
            <a:cxnSpLocks/>
          </p:cNvCxnSpPr>
          <p:nvPr/>
        </p:nvCxnSpPr>
        <p:spPr>
          <a:xfrm>
            <a:off x="1249549" y="4322774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27536DF9-A19D-41DC-8120-EBF1F0889452}"/>
              </a:ext>
            </a:extLst>
          </p:cNvPr>
          <p:cNvCxnSpPr>
            <a:cxnSpLocks/>
          </p:cNvCxnSpPr>
          <p:nvPr/>
        </p:nvCxnSpPr>
        <p:spPr>
          <a:xfrm>
            <a:off x="1249549" y="4541850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5198A1AF-0B70-4D08-B70B-5218720D19C9}"/>
              </a:ext>
            </a:extLst>
          </p:cNvPr>
          <p:cNvCxnSpPr>
            <a:cxnSpLocks/>
          </p:cNvCxnSpPr>
          <p:nvPr/>
        </p:nvCxnSpPr>
        <p:spPr>
          <a:xfrm>
            <a:off x="1249549" y="4759338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FD1390E0-CB09-41F3-A604-653CCCE14288}"/>
              </a:ext>
            </a:extLst>
          </p:cNvPr>
          <p:cNvCxnSpPr>
            <a:cxnSpLocks/>
          </p:cNvCxnSpPr>
          <p:nvPr/>
        </p:nvCxnSpPr>
        <p:spPr>
          <a:xfrm>
            <a:off x="1249549" y="4978414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08292FDB-6FA7-49AC-8C46-DBFF73D50E23}"/>
              </a:ext>
            </a:extLst>
          </p:cNvPr>
          <p:cNvCxnSpPr>
            <a:cxnSpLocks/>
          </p:cNvCxnSpPr>
          <p:nvPr/>
        </p:nvCxnSpPr>
        <p:spPr>
          <a:xfrm>
            <a:off x="1249549" y="5197490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FCC6BFF6-E461-485E-8878-ED4A85464963}"/>
              </a:ext>
            </a:extLst>
          </p:cNvPr>
          <p:cNvCxnSpPr>
            <a:cxnSpLocks/>
          </p:cNvCxnSpPr>
          <p:nvPr/>
        </p:nvCxnSpPr>
        <p:spPr>
          <a:xfrm>
            <a:off x="1249549" y="5635642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90E7ABEE-2BB1-43D8-B2FB-3AF175236B94}"/>
              </a:ext>
            </a:extLst>
          </p:cNvPr>
          <p:cNvCxnSpPr>
            <a:cxnSpLocks/>
          </p:cNvCxnSpPr>
          <p:nvPr/>
        </p:nvCxnSpPr>
        <p:spPr>
          <a:xfrm>
            <a:off x="1249549" y="5854718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84496F30-2FB3-47D5-8441-56E36EF1DD6F}"/>
              </a:ext>
            </a:extLst>
          </p:cNvPr>
          <p:cNvCxnSpPr>
            <a:cxnSpLocks/>
          </p:cNvCxnSpPr>
          <p:nvPr/>
        </p:nvCxnSpPr>
        <p:spPr>
          <a:xfrm>
            <a:off x="1249549" y="6073794"/>
            <a:ext cx="635153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DE303A29-126A-E47D-7D03-F6B2CC13D2AA}"/>
              </a:ext>
            </a:extLst>
          </p:cNvPr>
          <p:cNvGrpSpPr/>
          <p:nvPr/>
        </p:nvGrpSpPr>
        <p:grpSpPr>
          <a:xfrm>
            <a:off x="7842717" y="4140402"/>
            <a:ext cx="1482683" cy="317522"/>
            <a:chOff x="7804217" y="3857543"/>
            <a:chExt cx="1482683" cy="317522"/>
          </a:xfrm>
        </p:grpSpPr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92A1173C-696C-714E-A654-C44E6C4C49FB}"/>
                </a:ext>
              </a:extLst>
            </p:cNvPr>
            <p:cNvGrpSpPr/>
            <p:nvPr/>
          </p:nvGrpSpPr>
          <p:grpSpPr>
            <a:xfrm>
              <a:off x="7804217" y="3857543"/>
              <a:ext cx="324000" cy="317522"/>
              <a:chOff x="8721262" y="2903549"/>
              <a:chExt cx="324000" cy="317522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DDBCB96D-F4AA-EFAF-FBC6-31BA211AA9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721262" y="2903549"/>
                <a:ext cx="324000" cy="317522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43" name="Graphic 242">
                <a:extLst>
                  <a:ext uri="{FF2B5EF4-FFF2-40B4-BE49-F238E27FC236}">
                    <a16:creationId xmlns:a16="http://schemas.microsoft.com/office/drawing/2014/main" id="{1898C6A1-A606-B8D5-01E3-28B23C29A6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7">
                <a:extLst>
                  <a:ext uri="{96DAC541-7B7A-43D3-8B79-37D633B846F1}">
                    <asvg:svgBlip xmlns:asvg="http://schemas.microsoft.com/office/drawing/2016/SVG/main" r:embed="rId58"/>
                  </a:ext>
                </a:extLst>
              </a:blip>
              <a:stretch>
                <a:fillRect/>
              </a:stretch>
            </p:blipFill>
            <p:spPr>
              <a:xfrm>
                <a:off x="8782720" y="2955046"/>
                <a:ext cx="216000" cy="211682"/>
              </a:xfrm>
              <a:prstGeom prst="rect">
                <a:avLst/>
              </a:prstGeom>
            </p:spPr>
          </p:pic>
        </p:grp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9BDF9E9F-62A6-FE58-519C-06DE43419673}"/>
                </a:ext>
              </a:extLst>
            </p:cNvPr>
            <p:cNvSpPr txBox="1"/>
            <p:nvPr/>
          </p:nvSpPr>
          <p:spPr>
            <a:xfrm>
              <a:off x="8153576" y="3934216"/>
              <a:ext cx="1133324" cy="21544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ctr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servability</a:t>
              </a:r>
              <a:endParaRPr kumimoji="0" lang="en-CN" sz="14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4" name="TextBox 243">
            <a:extLst>
              <a:ext uri="{FF2B5EF4-FFF2-40B4-BE49-F238E27FC236}">
                <a16:creationId xmlns:a16="http://schemas.microsoft.com/office/drawing/2014/main" id="{61758525-24F3-1654-7B0E-5E9C0C4C8EBA}"/>
              </a:ext>
            </a:extLst>
          </p:cNvPr>
          <p:cNvSpPr txBox="1"/>
          <p:nvPr/>
        </p:nvSpPr>
        <p:spPr>
          <a:xfrm>
            <a:off x="8192076" y="4469390"/>
            <a:ext cx="399090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r>
              <a:rPr lang="en-US" altLang="zh-CN" sz="1200" b="1" dirty="0"/>
              <a:t>Complete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basic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implementation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for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observability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altLang="zh-CN" sz="1200" dirty="0"/>
              <a:t>Alerting</a:t>
            </a:r>
            <a:r>
              <a:rPr lang="zh-CN" altLang="en-US" sz="1200" dirty="0"/>
              <a:t> </a:t>
            </a:r>
            <a:r>
              <a:rPr lang="en-US" altLang="zh-CN" sz="1200" dirty="0"/>
              <a:t>is</a:t>
            </a:r>
            <a:r>
              <a:rPr lang="zh-CN" altLang="en-US" sz="1200" dirty="0"/>
              <a:t> </a:t>
            </a:r>
            <a:r>
              <a:rPr lang="en-US" altLang="zh-CN" sz="1200" dirty="0"/>
              <a:t>based</a:t>
            </a:r>
            <a:r>
              <a:rPr lang="zh-CN" altLang="en-US" sz="1200" dirty="0"/>
              <a:t> </a:t>
            </a:r>
            <a:r>
              <a:rPr lang="en-US" altLang="zh-CN" sz="1200" dirty="0"/>
              <a:t>on</a:t>
            </a:r>
            <a:r>
              <a:rPr lang="zh-CN" altLang="en-US" sz="1200" dirty="0"/>
              <a:t> </a:t>
            </a:r>
            <a:r>
              <a:rPr lang="en-US" altLang="zh-CN" sz="1200" dirty="0"/>
              <a:t>loggings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altLang="zh-CN" sz="1200" dirty="0">
                <a:cs typeface="Arial"/>
              </a:rPr>
              <a:t>Not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integrated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with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centralized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alerting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pipeline</a:t>
            </a:r>
            <a:endParaRPr lang="en-US" sz="1200" dirty="0">
              <a:cs typeface="Arial"/>
            </a:endParaRP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0667D33-DAEE-6B46-B919-284EE5EB5CCF}"/>
              </a:ext>
            </a:extLst>
          </p:cNvPr>
          <p:cNvGrpSpPr/>
          <p:nvPr/>
        </p:nvGrpSpPr>
        <p:grpSpPr>
          <a:xfrm>
            <a:off x="7842717" y="5110191"/>
            <a:ext cx="1056284" cy="318602"/>
            <a:chOff x="7804217" y="4773770"/>
            <a:chExt cx="1056284" cy="318602"/>
          </a:xfrm>
        </p:grpSpPr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CA3DA77F-1D6D-6E39-EDD4-2C8DCC12CFD8}"/>
                </a:ext>
              </a:extLst>
            </p:cNvPr>
            <p:cNvGrpSpPr/>
            <p:nvPr/>
          </p:nvGrpSpPr>
          <p:grpSpPr>
            <a:xfrm>
              <a:off x="7804217" y="4773770"/>
              <a:ext cx="324000" cy="318602"/>
              <a:chOff x="8703773" y="3427129"/>
              <a:chExt cx="324000" cy="318602"/>
            </a:xfrm>
          </p:grpSpPr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4E5A1D43-D8B2-50E5-680A-39978D0DC8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703773" y="3427129"/>
                <a:ext cx="324000" cy="318602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49" name="Graphic 248">
                <a:extLst>
                  <a:ext uri="{FF2B5EF4-FFF2-40B4-BE49-F238E27FC236}">
                    <a16:creationId xmlns:a16="http://schemas.microsoft.com/office/drawing/2014/main" id="{EF45F81B-FCB0-97D8-5328-AD4671BFCD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9">
                <a:extLst>
                  <a:ext uri="{96DAC541-7B7A-43D3-8B79-37D633B846F1}">
                    <asvg:svgBlip xmlns:asvg="http://schemas.microsoft.com/office/drawing/2016/SVG/main" r:embed="rId60"/>
                  </a:ext>
                </a:extLst>
              </a:blip>
              <a:stretch>
                <a:fillRect/>
              </a:stretch>
            </p:blipFill>
            <p:spPr>
              <a:xfrm>
                <a:off x="8750501" y="3467843"/>
                <a:ext cx="216000" cy="212404"/>
              </a:xfrm>
              <a:prstGeom prst="rect">
                <a:avLst/>
              </a:prstGeom>
            </p:spPr>
          </p:pic>
        </p:grp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5A5CEA35-F71A-B18E-767A-13C140792CED}"/>
                </a:ext>
              </a:extLst>
            </p:cNvPr>
            <p:cNvSpPr txBox="1"/>
            <p:nvPr/>
          </p:nvSpPr>
          <p:spPr>
            <a:xfrm>
              <a:off x="8153576" y="4840031"/>
              <a:ext cx="706925" cy="21544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ctr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curity</a:t>
              </a:r>
            </a:p>
          </p:txBody>
        </p:sp>
      </p:grpSp>
      <p:sp>
        <p:nvSpPr>
          <p:cNvPr id="250" name="TextBox 249">
            <a:extLst>
              <a:ext uri="{FF2B5EF4-FFF2-40B4-BE49-F238E27FC236}">
                <a16:creationId xmlns:a16="http://schemas.microsoft.com/office/drawing/2014/main" id="{5B22C442-52AC-8A1D-DED0-70017ACD77B0}"/>
              </a:ext>
            </a:extLst>
          </p:cNvPr>
          <p:cNvSpPr txBox="1"/>
          <p:nvPr/>
        </p:nvSpPr>
        <p:spPr>
          <a:xfrm>
            <a:off x="8192076" y="5422091"/>
            <a:ext cx="364154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r>
              <a:rPr lang="en-US" sz="1200" b="1" dirty="0">
                <a:cs typeface="Arial"/>
              </a:rPr>
              <a:t>Lack of control to reduce cyber vulnerabilities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cs typeface="Arial"/>
              </a:rPr>
              <a:t>Security scan is implemented for CI but not CD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US" sz="1200" dirty="0">
                <a:cs typeface="Arial"/>
              </a:rPr>
              <a:t>No tracking or enforcement for security scan</a:t>
            </a:r>
          </a:p>
        </p:txBody>
      </p: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2044A546-D9A0-5069-CC94-DBC70444ADD4}"/>
              </a:ext>
            </a:extLst>
          </p:cNvPr>
          <p:cNvGrpSpPr/>
          <p:nvPr/>
        </p:nvGrpSpPr>
        <p:grpSpPr>
          <a:xfrm>
            <a:off x="7842717" y="2986303"/>
            <a:ext cx="1234218" cy="316873"/>
            <a:chOff x="7804217" y="2884517"/>
            <a:chExt cx="1234218" cy="316873"/>
          </a:xfrm>
        </p:grpSpPr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3373528-8D47-BE97-2E4A-22D2BAC50BE0}"/>
                </a:ext>
              </a:extLst>
            </p:cNvPr>
            <p:cNvSpPr txBox="1"/>
            <p:nvPr/>
          </p:nvSpPr>
          <p:spPr>
            <a:xfrm>
              <a:off x="8153576" y="2950948"/>
              <a:ext cx="884859" cy="21544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ctr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ilience</a:t>
              </a:r>
              <a:endParaRPr kumimoji="0" lang="en-CN" sz="14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DF3EB29C-76D8-9463-47AA-2C2E8B1A6660}"/>
                </a:ext>
              </a:extLst>
            </p:cNvPr>
            <p:cNvGrpSpPr/>
            <p:nvPr/>
          </p:nvGrpSpPr>
          <p:grpSpPr>
            <a:xfrm>
              <a:off x="7804217" y="2884517"/>
              <a:ext cx="324000" cy="316873"/>
              <a:chOff x="8684805" y="2411768"/>
              <a:chExt cx="324000" cy="316873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E51F7D35-F4C4-D81A-F646-8AB398A5891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84805" y="2411768"/>
                <a:ext cx="324000" cy="316873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5" name="Graphic 254">
                <a:extLst>
                  <a:ext uri="{FF2B5EF4-FFF2-40B4-BE49-F238E27FC236}">
                    <a16:creationId xmlns:a16="http://schemas.microsoft.com/office/drawing/2014/main" id="{5F31AE51-0104-C3A4-EA3C-9665C65F82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1">
                <a:extLst>
                  <a:ext uri="{96DAC541-7B7A-43D3-8B79-37D633B846F1}">
                    <asvg:svgBlip xmlns:asvg="http://schemas.microsoft.com/office/drawing/2016/SVG/main" r:embed="rId62"/>
                  </a:ext>
                </a:extLst>
              </a:blip>
              <a:stretch>
                <a:fillRect/>
              </a:stretch>
            </p:blipFill>
            <p:spPr>
              <a:xfrm>
                <a:off x="8740188" y="2471976"/>
                <a:ext cx="216000" cy="211250"/>
              </a:xfrm>
              <a:prstGeom prst="rect">
                <a:avLst/>
              </a:prstGeom>
            </p:spPr>
          </p:pic>
        </p:grpSp>
      </p:grpSp>
      <p:sp>
        <p:nvSpPr>
          <p:cNvPr id="256" name="TextBox 255">
            <a:extLst>
              <a:ext uri="{FF2B5EF4-FFF2-40B4-BE49-F238E27FC236}">
                <a16:creationId xmlns:a16="http://schemas.microsoft.com/office/drawing/2014/main" id="{EDC8D02E-C580-9681-4CE2-8E47025EAB78}"/>
              </a:ext>
            </a:extLst>
          </p:cNvPr>
          <p:cNvSpPr txBox="1"/>
          <p:nvPr/>
        </p:nvSpPr>
        <p:spPr>
          <a:xfrm>
            <a:off x="8192076" y="3322205"/>
            <a:ext cx="364154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1270" lvl="1" indent="0">
              <a:buNone/>
            </a:pPr>
            <a:r>
              <a:rPr lang="en-US" altLang="zh-CN" sz="1200" b="1" dirty="0">
                <a:cs typeface="Arial"/>
              </a:rPr>
              <a:t>Complete</a:t>
            </a:r>
            <a:r>
              <a:rPr lang="zh-CN" altLang="en-US" sz="1200" b="1" dirty="0">
                <a:cs typeface="Arial"/>
              </a:rPr>
              <a:t> </a:t>
            </a:r>
            <a:r>
              <a:rPr lang="en-US" altLang="zh-CN" sz="1200" b="1" dirty="0">
                <a:cs typeface="Arial"/>
              </a:rPr>
              <a:t>re-platform,</a:t>
            </a:r>
            <a:r>
              <a:rPr lang="zh-CN" altLang="en-US" sz="1200" b="1" dirty="0">
                <a:cs typeface="Arial"/>
              </a:rPr>
              <a:t> </a:t>
            </a:r>
            <a:r>
              <a:rPr lang="en-US" altLang="zh-CN" sz="1200" b="1" dirty="0">
                <a:cs typeface="Arial"/>
              </a:rPr>
              <a:t>need</a:t>
            </a:r>
            <a:r>
              <a:rPr lang="zh-CN" altLang="en-US" sz="1200" b="1" dirty="0">
                <a:cs typeface="Arial"/>
              </a:rPr>
              <a:t> </a:t>
            </a:r>
            <a:r>
              <a:rPr lang="en-US" altLang="zh-CN" sz="1200" b="1" dirty="0">
                <a:cs typeface="Arial"/>
              </a:rPr>
              <a:t>further</a:t>
            </a:r>
            <a:r>
              <a:rPr lang="zh-CN" altLang="en-US" sz="1200" b="1" dirty="0">
                <a:cs typeface="Arial"/>
              </a:rPr>
              <a:t> </a:t>
            </a:r>
            <a:r>
              <a:rPr lang="en-US" altLang="zh-CN" sz="1200" b="1" dirty="0">
                <a:cs typeface="Arial"/>
              </a:rPr>
              <a:t>enhancement</a:t>
            </a:r>
          </a:p>
          <a:p>
            <a:pPr marL="196850" lvl="1" indent="-195580"/>
            <a:r>
              <a:rPr lang="en-US" altLang="zh-CN" sz="1200" dirty="0">
                <a:cs typeface="Arial"/>
              </a:rPr>
              <a:t>Be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more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organized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over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100+</a:t>
            </a:r>
            <a:r>
              <a:rPr lang="zh-CN" altLang="en-US" sz="1200" dirty="0">
                <a:cs typeface="Arial"/>
              </a:rPr>
              <a:t> </a:t>
            </a:r>
            <a:r>
              <a:rPr lang="en-US" altLang="zh-CN" sz="1200" dirty="0">
                <a:cs typeface="Arial"/>
              </a:rPr>
              <a:t>components</a:t>
            </a:r>
            <a:endParaRPr lang="en-US" sz="1200" dirty="0">
              <a:cs typeface="Arial"/>
            </a:endParaRPr>
          </a:p>
          <a:p>
            <a:pPr marL="196850" lvl="1" indent="-195580"/>
            <a:r>
              <a:rPr lang="en-US" sz="1200" dirty="0">
                <a:cs typeface="Arial"/>
              </a:rPr>
              <a:t>Operation process is not standardized</a:t>
            </a: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425293AF-5925-FE6B-4AF0-C8298E46C2B4}"/>
              </a:ext>
            </a:extLst>
          </p:cNvPr>
          <p:cNvGrpSpPr/>
          <p:nvPr/>
        </p:nvGrpSpPr>
        <p:grpSpPr>
          <a:xfrm>
            <a:off x="7842716" y="1664248"/>
            <a:ext cx="1424113" cy="318997"/>
            <a:chOff x="7804217" y="1505224"/>
            <a:chExt cx="1383296" cy="318997"/>
          </a:xfrm>
        </p:grpSpPr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1F76E97B-35A2-543B-F675-D83ABC55D440}"/>
                </a:ext>
              </a:extLst>
            </p:cNvPr>
            <p:cNvGrpSpPr/>
            <p:nvPr/>
          </p:nvGrpSpPr>
          <p:grpSpPr>
            <a:xfrm>
              <a:off x="7804217" y="1505224"/>
              <a:ext cx="324000" cy="318997"/>
              <a:chOff x="8690028" y="1897345"/>
              <a:chExt cx="324000" cy="318997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9231A25F-A5F9-ECCD-AF47-B4E87461712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690028" y="1897345"/>
                <a:ext cx="324000" cy="318997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1" name="Graphic 260">
                <a:extLst>
                  <a:ext uri="{FF2B5EF4-FFF2-40B4-BE49-F238E27FC236}">
                    <a16:creationId xmlns:a16="http://schemas.microsoft.com/office/drawing/2014/main" id="{C194C6D9-C5CC-B5BC-9903-4E428489E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3">
                <a:extLst>
                  <a:ext uri="{96DAC541-7B7A-43D3-8B79-37D633B846F1}">
                    <asvg:svgBlip xmlns:asvg="http://schemas.microsoft.com/office/drawing/2016/SVG/main" r:embed="rId64"/>
                  </a:ext>
                </a:extLst>
              </a:blip>
              <a:stretch>
                <a:fillRect/>
              </a:stretch>
            </p:blipFill>
            <p:spPr>
              <a:xfrm>
                <a:off x="8740129" y="1940605"/>
                <a:ext cx="216000" cy="212666"/>
              </a:xfrm>
              <a:prstGeom prst="rect">
                <a:avLst/>
              </a:prstGeom>
            </p:spPr>
          </p:pic>
        </p:grp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E7E2A668-F411-DA23-4B4C-49DD8D0E2133}"/>
                </a:ext>
              </a:extLst>
            </p:cNvPr>
            <p:cNvSpPr txBox="1"/>
            <p:nvPr/>
          </p:nvSpPr>
          <p:spPr>
            <a:xfrm>
              <a:off x="8153576" y="1552932"/>
              <a:ext cx="1033937" cy="21544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/>
              </a:lvl1pPr>
              <a:lvl2pPr marL="197482" lvl="1" indent="-19586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/>
              </a:lvl2pPr>
              <a:lvl3pPr marL="466181" lvl="2" indent="-267086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/>
              </a:lvl3pPr>
              <a:lvl4pPr marL="626437" lvl="3" indent="-1586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/>
              </a:lvl4pPr>
              <a:lvl5pPr marL="764542" lvl="4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5pPr>
              <a:lvl6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6pPr>
              <a:lvl7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7pPr>
              <a:lvl8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8pPr>
              <a:lvl9pPr marL="764542" indent="-132733" defTabSz="91294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1" baseline="0"/>
              </a:lvl9pPr>
            </a:lstStyle>
            <a:p>
              <a:pPr marL="0" marR="0" lvl="0" indent="0" algn="ctr" defTabSz="9129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80808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8080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ductivity</a:t>
              </a:r>
              <a:endParaRPr kumimoji="0" lang="en-CN" sz="1400" b="1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2" name="TextBox 261">
            <a:extLst>
              <a:ext uri="{FF2B5EF4-FFF2-40B4-BE49-F238E27FC236}">
                <a16:creationId xmlns:a16="http://schemas.microsoft.com/office/drawing/2014/main" id="{ABABDDA0-7ACC-B1F4-F41C-BF0925D94A18}"/>
              </a:ext>
            </a:extLst>
          </p:cNvPr>
          <p:cNvSpPr txBox="1"/>
          <p:nvPr/>
        </p:nvSpPr>
        <p:spPr>
          <a:xfrm>
            <a:off x="8192076" y="1976171"/>
            <a:ext cx="364154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482" lvl="1" indent="-19586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66181" lvl="2" indent="-267086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437" lvl="3" indent="-1586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64542" lvl="4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6pPr>
            <a:lvl7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7pPr>
            <a:lvl8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8pPr>
            <a:lvl9pPr marL="764542" indent="-132733" defTabSz="91294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1" baseline="0"/>
            </a:lvl9pPr>
          </a:lstStyle>
          <a:p>
            <a:pPr marL="1270" lvl="1" indent="0">
              <a:buNone/>
            </a:pPr>
            <a:r>
              <a:rPr lang="en-US" sz="1200" b="1" dirty="0"/>
              <a:t>Adopting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operating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model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in</a:t>
            </a:r>
            <a:r>
              <a:rPr lang="zh-CN" altLang="en-US" sz="1200" b="1" dirty="0"/>
              <a:t> </a:t>
            </a:r>
            <a:r>
              <a:rPr lang="en-US" altLang="zh-CN" sz="1200" b="1" dirty="0"/>
              <a:t>progress</a:t>
            </a:r>
            <a:endParaRPr lang="en-US" sz="1200" b="1" dirty="0"/>
          </a:p>
          <a:p>
            <a:pPr marL="172720" lvl="1" indent="-171450">
              <a:buFont typeface="Wingdings" pitchFamily="2" charset="2"/>
              <a:buChar char="§"/>
            </a:pPr>
            <a:r>
              <a:rPr lang="en-US" sz="1200" dirty="0"/>
              <a:t>Difficult to rollout application at scale since</a:t>
            </a:r>
            <a:r>
              <a:rPr lang="zh-CN" altLang="en-US" sz="1200" dirty="0"/>
              <a:t> </a:t>
            </a:r>
            <a:r>
              <a:rPr lang="en-US" altLang="zh-CN" sz="1200" dirty="0"/>
              <a:t>CI/CD</a:t>
            </a:r>
            <a:r>
              <a:rPr lang="zh-CN" altLang="en-US" sz="1200" dirty="0"/>
              <a:t> </a:t>
            </a:r>
            <a:r>
              <a:rPr lang="en-US" altLang="zh-CN" sz="1200" dirty="0"/>
              <a:t>not</a:t>
            </a:r>
            <a:r>
              <a:rPr lang="zh-CN" altLang="en-US" sz="1200" dirty="0"/>
              <a:t> </a:t>
            </a:r>
            <a:r>
              <a:rPr lang="en-US" altLang="zh-CN" sz="1200" dirty="0"/>
              <a:t>standardized</a:t>
            </a:r>
          </a:p>
          <a:p>
            <a:pPr marL="172720" lvl="1" indent="-171450">
              <a:buFont typeface="Wingdings" pitchFamily="2" charset="2"/>
              <a:buChar char="§"/>
            </a:pPr>
            <a:r>
              <a:rPr lang="en-US" altLang="zh-CN" sz="1200" dirty="0"/>
              <a:t>Not</a:t>
            </a:r>
            <a:r>
              <a:rPr lang="zh-CN" altLang="en-US" sz="1200" dirty="0"/>
              <a:t> </a:t>
            </a:r>
            <a:r>
              <a:rPr lang="en-US" altLang="zh-CN" sz="1200" dirty="0"/>
              <a:t>yet</a:t>
            </a:r>
            <a:r>
              <a:rPr lang="zh-CN" altLang="en-US" sz="1200" dirty="0"/>
              <a:t> </a:t>
            </a:r>
            <a:r>
              <a:rPr lang="en-US" altLang="zh-CN" sz="1200" dirty="0"/>
              <a:t>use</a:t>
            </a:r>
            <a:r>
              <a:rPr lang="zh-CN" altLang="en-US" sz="1200" dirty="0"/>
              <a:t> </a:t>
            </a:r>
            <a:r>
              <a:rPr lang="en-US" altLang="zh-CN" sz="1200" dirty="0"/>
              <a:t>templating</a:t>
            </a:r>
            <a:r>
              <a:rPr lang="zh-CN" altLang="en-US" sz="1200" dirty="0"/>
              <a:t> </a:t>
            </a:r>
            <a:r>
              <a:rPr lang="en-US" altLang="zh-CN" sz="1200" dirty="0"/>
              <a:t>tool</a:t>
            </a:r>
            <a:r>
              <a:rPr lang="zh-CN" altLang="en-US" sz="1200" dirty="0"/>
              <a:t> </a:t>
            </a:r>
            <a:r>
              <a:rPr lang="en-US" altLang="zh-CN" sz="1200" dirty="0"/>
              <a:t>to</a:t>
            </a:r>
            <a:r>
              <a:rPr lang="zh-CN" altLang="en-US" sz="1200" dirty="0"/>
              <a:t> </a:t>
            </a:r>
            <a:r>
              <a:rPr lang="en-US" altLang="zh-CN" sz="1200" dirty="0"/>
              <a:t>package</a:t>
            </a:r>
            <a:r>
              <a:rPr lang="zh-CN" altLang="en-US" sz="1200" dirty="0"/>
              <a:t> </a:t>
            </a:r>
            <a:r>
              <a:rPr lang="en-US" altLang="zh-CN" sz="1200" dirty="0"/>
              <a:t>apps</a:t>
            </a:r>
          </a:p>
        </p:txBody>
      </p:sp>
    </p:spTree>
    <p:extLst>
      <p:ext uri="{BB962C8B-B14F-4D97-AF65-F5344CB8AC3E}">
        <p14:creationId xmlns:p14="http://schemas.microsoft.com/office/powerpoint/2010/main" val="1871794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0-08-06 08:53 PM"/>
  <p:tag name="DSS_ID" val="0226c5cf-c93c-41b0-bef9-4f82e487cf28"/>
  <p:tag name="ICONFILLBACKGROUND" val="Color [A=255, R=97, G=157, B=166]"/>
  <p:tag name="ICONFILLBACKGROUNDTHEME" val="Accent 1"/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AF&quot; g=&quot;DC&quot; b=&quot;78&quot;/&gt;&lt;/elem&gt;&lt;elem m_fUsage=&quot;9.00000000000000022204E-01&quot;&gt;&lt;m_msothmcolidx val=&quot;0&quot;/&gt;&lt;m_rgb r=&quot;D0&quot; g=&quot;20&quot; b=&quot;3F&quot;/&gt;&lt;/elem&gt;&lt;elem m_fUsage=&quot;8.10000000000000053291E-01&quot;&gt;&lt;m_msothmcolidx val=&quot;0&quot;/&gt;&lt;m_rgb r=&quot;F2&quot; g=&quot;E7&quot; b=&quot;0D&quot;/&gt;&lt;/elem&gt;&lt;elem m_fUsage=&quot;7.29000000000000092371E-01&quot;&gt;&lt;m_msothmcolidx val=&quot;0&quot;/&gt;&lt;m_rgb r=&quot;D9&quot; g=&quot;EE&quot; b=&quot;BF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1ColorBoldText"/>
  <p:tag name="ICONENCLOSURE" val="False"/>
  <p:tag name="ICONLINEFILL" val="Color [A=255, R=255, G=255, B=255]"/>
  <p:tag name="ICONLINEFILLTHEME" val="Background 1"/>
  <p:tag name="TSCLIEN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55zvJXSeS.tYU9KoXX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lMnoTws6R2ApqOEM3m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syzzrHRUHbqOLBREg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YkqK67pf9X_HaaoURq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fsPtf7duVs8NeKKhdU3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x9rlvoNQ.DeOk0Sk2J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dpBnLRQ6YZ9G0u6G.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aIm8Tmp7Pin5w7bqZV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uzG..jSQNyfULZ5Dn3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8WGla3ieDs3GfdmVlw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Q6qs1rvrYZ9qgtzxbO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tSWvwsTU9cQYGbjHKn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IDse40ohiPWrdw24n9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pAu4NRWPUscwm0fVmF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ZnvBCUk25wg6OB8eKV0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Rx2tB5o_DpCaVJajLP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1UlXn.np181FXBHHrm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qB.godym3R1s2DAWup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kbLYfgyuop0WZwAdu8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znAxTKinx4X5oAZ.jg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4_Wistron_CF_WIV015">
  <a:themeElements>
    <a:clrScheme name="Current">
      <a:dk1>
        <a:srgbClr val="080808"/>
      </a:dk1>
      <a:lt1>
        <a:srgbClr val="FFFFFF"/>
      </a:lt1>
      <a:dk2>
        <a:srgbClr val="080808"/>
      </a:dk2>
      <a:lt2>
        <a:srgbClr val="FF8700"/>
      </a:lt2>
      <a:accent1>
        <a:srgbClr val="619DA6"/>
      </a:accent1>
      <a:accent2>
        <a:srgbClr val="91CE44"/>
      </a:accent2>
      <a:accent3>
        <a:srgbClr val="8B78B8"/>
      </a:accent3>
      <a:accent4>
        <a:srgbClr val="00506E"/>
      </a:accent4>
      <a:accent5>
        <a:srgbClr val="CB8945"/>
      </a:accent5>
      <a:accent6>
        <a:srgbClr val="808080"/>
      </a:accent6>
      <a:hlink>
        <a:srgbClr val="8B78B8"/>
      </a:hlink>
      <a:folHlink>
        <a:srgbClr val="00506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80808"/>
        </a:dk1>
        <a:lt1>
          <a:srgbClr val="FFFFFF"/>
        </a:lt1>
        <a:dk2>
          <a:srgbClr val="080808"/>
        </a:dk2>
        <a:lt2>
          <a:srgbClr val="FF8700"/>
        </a:lt2>
        <a:accent1>
          <a:srgbClr val="619DA6"/>
        </a:accent1>
        <a:accent2>
          <a:srgbClr val="91CE44"/>
        </a:accent2>
        <a:accent3>
          <a:srgbClr val="8B78B8"/>
        </a:accent3>
        <a:accent4>
          <a:srgbClr val="00506E"/>
        </a:accent4>
        <a:accent5>
          <a:srgbClr val="CB8945"/>
        </a:accent5>
        <a:accent6>
          <a:srgbClr val="808080"/>
        </a:accent6>
        <a:hlink>
          <a:srgbClr val="8B78B8"/>
        </a:hlink>
        <a:folHlink>
          <a:srgbClr val="0050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itle.pptx" id="{496324DB-6466-4DB7-86D5-0C6D4C9727B3}" vid="{1D268D07-532A-468D-BD44-4FB7844A7428}"/>
    </a:ext>
  </a:extLst>
</a:theme>
</file>

<file path=ppt/theme/theme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5938</TotalTime>
  <Words>237</Words>
  <Application>Microsoft Office PowerPoint</Application>
  <PresentationFormat>寬螢幕</PresentationFormat>
  <Paragraphs>73</Paragraphs>
  <Slides>1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6" baseType="lpstr">
      <vt:lpstr>Arial</vt:lpstr>
      <vt:lpstr>Segoe UI</vt:lpstr>
      <vt:lpstr>Wingdings</vt:lpstr>
      <vt:lpstr>4_Wistron_CF_WIV015</vt:lpstr>
      <vt:lpstr>think-cell Slide</vt:lpstr>
      <vt:lpstr>In order to boost the cloud-native maturity, we used 3 dimensions to assess the maturity of the XXXX use cas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tron Tech Transformation</dc:title>
  <dc:subject/>
  <dc:creator>Ian Yu</dc:creator>
  <cp:keywords/>
  <dc:description/>
  <cp:lastModifiedBy>李泰穎</cp:lastModifiedBy>
  <cp:revision>7876</cp:revision>
  <cp:lastPrinted>2018-10-30T20:37:12Z</cp:lastPrinted>
  <dcterms:created xsi:type="dcterms:W3CDTF">2020-09-21T02:19:44Z</dcterms:created>
  <dcterms:modified xsi:type="dcterms:W3CDTF">2022-11-01T07:13:1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